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18"/>
  </p:notesMasterIdLst>
  <p:handoutMasterIdLst>
    <p:handoutMasterId r:id="rId19"/>
  </p:handoutMasterIdLst>
  <p:sldIdLst>
    <p:sldId id="286" r:id="rId2"/>
    <p:sldId id="361" r:id="rId3"/>
    <p:sldId id="451" r:id="rId4"/>
    <p:sldId id="437" r:id="rId5"/>
    <p:sldId id="452" r:id="rId6"/>
    <p:sldId id="453" r:id="rId7"/>
    <p:sldId id="454" r:id="rId8"/>
    <p:sldId id="380" r:id="rId9"/>
    <p:sldId id="449" r:id="rId10"/>
    <p:sldId id="443" r:id="rId11"/>
    <p:sldId id="439" r:id="rId12"/>
    <p:sldId id="450" r:id="rId13"/>
    <p:sldId id="446" r:id="rId14"/>
    <p:sldId id="447" r:id="rId15"/>
    <p:sldId id="448" r:id="rId16"/>
    <p:sldId id="405" r:id="rId17"/>
  </p:sldIdLst>
  <p:sldSz cx="9144000" cy="6858000" type="screen4x3"/>
  <p:notesSz cx="6742113" cy="9872663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Standardabschnitt" id="{62F25FD1-3B30-4CF2-9860-C6AFCCE88DFD}">
          <p14:sldIdLst>
            <p14:sldId id="286"/>
            <p14:sldId id="361"/>
            <p14:sldId id="437"/>
            <p14:sldId id="438"/>
            <p14:sldId id="380"/>
            <p14:sldId id="449"/>
            <p14:sldId id="443"/>
            <p14:sldId id="439"/>
            <p14:sldId id="450"/>
            <p14:sldId id="446"/>
            <p14:sldId id="447"/>
            <p14:sldId id="448"/>
            <p14:sldId id="40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00"/>
    <a:srgbClr val="CC00CC"/>
    <a:srgbClr val="663300"/>
    <a:srgbClr val="669914"/>
    <a:srgbClr val="D53D20"/>
    <a:srgbClr val="003382"/>
    <a:srgbClr val="010000"/>
    <a:srgbClr val="CD00CC"/>
    <a:srgbClr val="673300"/>
    <a:srgbClr val="6799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030" autoAdjust="0"/>
    <p:restoredTop sz="69632" autoAdjust="0"/>
  </p:normalViewPr>
  <p:slideViewPr>
    <p:cSldViewPr snapToGrid="0">
      <p:cViewPr>
        <p:scale>
          <a:sx n="70" d="100"/>
          <a:sy n="70" d="100"/>
        </p:scale>
        <p:origin x="-306" y="-534"/>
      </p:cViewPr>
      <p:guideLst>
        <p:guide orient="horz" pos="130"/>
        <p:guide orient="horz" pos="460"/>
        <p:guide orient="horz" pos="1067"/>
        <p:guide orient="horz" pos="4179"/>
        <p:guide orient="horz" pos="3930"/>
        <p:guide pos="5538"/>
        <p:guide pos="221"/>
        <p:guide pos="2029"/>
        <p:guide pos="3736"/>
        <p:guide pos="1927"/>
        <p:guide pos="3838"/>
        <p:guide/>
        <p:guide pos="28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78"/>
    </p:cViewPr>
  </p:sorterViewPr>
  <p:notesViewPr>
    <p:cSldViewPr snapToGrid="0" showGuides="1">
      <p:cViewPr varScale="1">
        <p:scale>
          <a:sx n="76" d="100"/>
          <a:sy n="76" d="100"/>
        </p:scale>
        <p:origin x="-3342" y="-102"/>
      </p:cViewPr>
      <p:guideLst>
        <p:guide orient="horz" pos="3110"/>
        <p:guide pos="212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8972" y="1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/>
          <a:lstStyle>
            <a:lvl1pPr algn="r">
              <a:defRPr sz="1200"/>
            </a:lvl1pPr>
          </a:lstStyle>
          <a:p>
            <a:fld id="{EF476CCE-F25D-344B-B116-2417C2BF9756}" type="datetimeFigureOut">
              <a:rPr lang="de-DE" smtClean="0"/>
              <a:pPr/>
              <a:t>03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8972" y="9377317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 anchor="b"/>
          <a:lstStyle>
            <a:lvl1pPr algn="r">
              <a:defRPr sz="1200"/>
            </a:lvl1pPr>
          </a:lstStyle>
          <a:p>
            <a:fld id="{223836BD-AF42-9148-9440-D635513DD3A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4542202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8972" y="1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/>
          <a:lstStyle>
            <a:lvl1pPr algn="r">
              <a:defRPr sz="1200"/>
            </a:lvl1pPr>
          </a:lstStyle>
          <a:p>
            <a:fld id="{B7E12A29-B6E6-0540-A937-F00BD4D7C171}" type="datetimeFigureOut">
              <a:rPr lang="de-DE" smtClean="0"/>
              <a:pPr/>
              <a:t>03.0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871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86" tIns="46043" rIns="92086" bIns="4604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4212" y="4689516"/>
            <a:ext cx="5393690" cy="4442698"/>
          </a:xfrm>
          <a:prstGeom prst="rect">
            <a:avLst/>
          </a:prstGeom>
        </p:spPr>
        <p:txBody>
          <a:bodyPr vert="horz" lIns="92086" tIns="46043" rIns="92086" bIns="46043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8972" y="9377317"/>
            <a:ext cx="2921582" cy="493633"/>
          </a:xfrm>
          <a:prstGeom prst="rect">
            <a:avLst/>
          </a:prstGeom>
        </p:spPr>
        <p:txBody>
          <a:bodyPr vert="horz" lIns="92086" tIns="46043" rIns="92086" bIns="46043" rtlCol="0" anchor="b"/>
          <a:lstStyle>
            <a:lvl1pPr algn="r">
              <a:defRPr sz="1200"/>
            </a:lvl1pPr>
          </a:lstStyle>
          <a:p>
            <a:fld id="{E7247A7E-DA71-F746-A9AB-E6198F99948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3229756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8263300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07506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</a:t>
            </a:r>
            <a:r>
              <a:rPr lang="de-DE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ergleich mit anderen Skript Sprachen wie Coffescript und Dart, ist j</a:t>
            </a:r>
            <a:r>
              <a:rPr lang="de-DE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es gültige JavaScript-Programm auch ein (syntaktisch) gültiges TypeScript-Programm. Man bezeichnet TypeScirpt</a:t>
            </a:r>
            <a:r>
              <a:rPr lang="de-DE" sz="12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s ein Superset von Javascript. Denn Typescript bietet noch weitere Features. Sie fallen in zwei Kateorien.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Mehrere Funktionen aus ES6/ES7:</a:t>
            </a:r>
            <a:r>
              <a:rPr lang="de-DE" baseline="0" dirty="0" smtClean="0"/>
              <a:t> besonders in ES6 wird die klassenbasierte OOP hinzugefügt. Wir wissen vor ES6 kann man über Funktion eine Klasse implizit definieren und Vererbung mit der Prototyp-Kette.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 smtClean="0"/>
          </a:p>
          <a:p>
            <a:endParaRPr lang="de-DE" sz="1200" b="0" i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075063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DE7EB-B5F3-4612-BB99-D687F0439F03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740760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 </a:t>
            </a:r>
            <a:r>
              <a:rPr lang="de-DE" dirty="0" smtClean="0"/>
              <a:t>A {</a:t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tected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play</a:t>
            </a:r>
            <a:r>
              <a:rPr lang="de-DE" dirty="0" smtClean="0"/>
              <a:t>()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d </a:t>
            </a:r>
            <a:r>
              <a:rPr lang="de-DE" dirty="0" smtClean="0"/>
              <a:t>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Inside static method of superclass"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(n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dirty="0" smtClean="0"/>
              <a:t>) 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number: " </a:t>
            </a:r>
            <a:r>
              <a:rPr lang="de-DE" dirty="0" smtClean="0"/>
              <a:t>+ n + 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: " </a:t>
            </a:r>
            <a:r>
              <a:rPr lang="de-DE" dirty="0" smtClean="0"/>
              <a:t>+ m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put</a:t>
            </a:r>
            <a:r>
              <a:rPr lang="de-DE" dirty="0" smtClean="0"/>
              <a:t>()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d </a:t>
            </a:r>
            <a:r>
              <a:rPr lang="de-DE" dirty="0" smtClean="0"/>
              <a:t>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output"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</a:t>
            </a:r>
            <a:r>
              <a:rPr lang="de-DE" dirty="0" smtClean="0"/>
              <a:t>() 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of this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DE" dirty="0" smtClean="0"/>
              <a:t>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this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, 23</a:t>
            </a:r>
            <a:r>
              <a:rPr lang="de-DE" dirty="0" smtClean="0"/>
              <a:t>)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DE" dirty="0" smtClean="0"/>
              <a:t>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dirty="0" smtClean="0"/>
              <a:t>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 </a:t>
            </a:r>
            <a:r>
              <a:rPr lang="de-DE" dirty="0" smtClean="0"/>
              <a:t>B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tends </a:t>
            </a:r>
            <a:r>
              <a:rPr lang="de-DE" dirty="0" smtClean="0"/>
              <a:t>A {</a:t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(n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dirty="0" smtClean="0"/>
              <a:t>) {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per</a:t>
            </a:r>
            <a:r>
              <a:rPr lang="de-DE" dirty="0" smtClean="0"/>
              <a:t>(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dirty="0" smtClean="0"/>
              <a:t>(){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this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, 22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.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dirty="0" smtClean="0"/>
              <a:t>(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 </a:t>
            </a:r>
            <a:r>
              <a:rPr lang="de-DE" dirty="0" smtClean="0"/>
              <a:t>A {</a:t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tected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play</a:t>
            </a:r>
            <a:r>
              <a:rPr lang="de-DE" dirty="0" smtClean="0"/>
              <a:t>()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d </a:t>
            </a:r>
            <a:r>
              <a:rPr lang="de-DE" dirty="0" smtClean="0"/>
              <a:t>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Inside static method of superclass"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(n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dirty="0" smtClean="0"/>
              <a:t>) 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number: " </a:t>
            </a:r>
            <a:r>
              <a:rPr lang="de-DE" dirty="0" smtClean="0"/>
              <a:t>+ n + 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: " </a:t>
            </a:r>
            <a:r>
              <a:rPr lang="de-DE" dirty="0" smtClean="0"/>
              <a:t>+ m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put</a:t>
            </a:r>
            <a:r>
              <a:rPr lang="de-DE" dirty="0" smtClean="0"/>
              <a:t>()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d </a:t>
            </a:r>
            <a:r>
              <a:rPr lang="de-DE" dirty="0" smtClean="0"/>
              <a:t>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output"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</a:t>
            </a:r>
            <a:r>
              <a:rPr lang="de-DE" dirty="0" smtClean="0"/>
              <a:t>() {</a:t>
            </a:r>
            <a:br>
              <a:rPr lang="de-DE" dirty="0" smtClean="0"/>
            </a:br>
            <a:r>
              <a:rPr lang="de-DE" dirty="0" smtClean="0"/>
              <a:t>        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of this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DE" dirty="0" smtClean="0"/>
              <a:t>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this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, 23</a:t>
            </a:r>
            <a:r>
              <a:rPr lang="de-DE" dirty="0" smtClean="0"/>
              <a:t>)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DE" dirty="0" smtClean="0"/>
              <a:t>console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</a:t>
            </a:r>
            <a:r>
              <a:rPr lang="de-DE" dirty="0" smtClean="0"/>
              <a:t>(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dirty="0" smtClean="0"/>
              <a:t>.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 </a:t>
            </a:r>
            <a:r>
              <a:rPr lang="de-DE" dirty="0" smtClean="0"/>
              <a:t>B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tends </a:t>
            </a:r>
            <a:r>
              <a:rPr lang="de-DE" dirty="0" smtClean="0"/>
              <a:t>A {</a:t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or</a:t>
            </a:r>
            <a:r>
              <a:rPr lang="de-DE" dirty="0" smtClean="0"/>
              <a:t>(n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: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ber</a:t>
            </a:r>
            <a:r>
              <a:rPr lang="de-DE" dirty="0" smtClean="0"/>
              <a:t>) {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per</a:t>
            </a:r>
            <a:r>
              <a:rPr lang="de-DE" dirty="0" smtClean="0"/>
              <a:t>(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dirty="0" smtClean="0"/>
              <a:t>m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static 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dirty="0" smtClean="0"/>
              <a:t>(){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this</a:t>
            </a:r>
            <a:r>
              <a:rPr lang="de-DE" dirty="0" smtClean="0"/>
              <a:t>(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, 22</a:t>
            </a:r>
            <a:r>
              <a:rPr lang="de-DE" dirty="0" smtClean="0"/>
              <a:t>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</a:t>
            </a: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>}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.</a:t>
            </a:r>
            <a:r>
              <a:rPr lang="de-DE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dirty="0" smtClean="0"/>
              <a:t>()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  <a:b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>
              <a:ea typeface="ＭＳ Ｐゴシック" pitchFamily="34" charset="-128"/>
            </a:endParaRPr>
          </a:p>
        </p:txBody>
      </p:sp>
      <p:sp>
        <p:nvSpPr>
          <p:cNvPr id="31747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34716" indent="-282583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30333" indent="-226067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82465" indent="-226067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34598" indent="-226067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86732" indent="-2260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8865" indent="-2260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90998" indent="-2260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3130" indent="-2260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1315C4CD-0089-43CB-8E9F-ED89B565D093}" type="slidenum">
              <a:rPr lang="de-DE" sz="1200"/>
              <a:pPr eaLnBrk="1" hangingPunct="1"/>
              <a:t>16</a:t>
            </a:fld>
            <a:endParaRPr lang="de-DE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mit_Vertraulichkeitsverm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20400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582" name="think-cell Folie" r:id="rId5" imgW="360" imgH="360" progId="">
              <p:embed/>
            </p:oleObj>
          </a:graphicData>
        </a:graphic>
      </p:graphicFrame>
      <p:sp useBgFill="1">
        <p:nvSpPr>
          <p:cNvPr id="4" name="Rechteck 3"/>
          <p:cNvSpPr/>
          <p:nvPr userDrawn="1"/>
        </p:nvSpPr>
        <p:spPr>
          <a:xfrm>
            <a:off x="3174" y="-4728"/>
            <a:ext cx="9144000" cy="687466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6926263" y="295276"/>
            <a:ext cx="1863725" cy="347663"/>
            <a:chOff x="6926263" y="295276"/>
            <a:chExt cx="1863725" cy="347663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350837" y="1701800"/>
            <a:ext cx="8445500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350838" y="2660623"/>
            <a:ext cx="8445500" cy="642965"/>
          </a:xfrm>
        </p:spPr>
        <p:txBody>
          <a:bodyPr lIns="0" rIns="0" anchor="t" anchorCtr="0">
            <a:normAutofit/>
          </a:bodyPr>
          <a:lstStyle>
            <a:lvl1pPr marL="1588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8" name="AutoShape 30"/>
          <p:cNvSpPr>
            <a:spLocks noChangeAspect="1" noChangeArrowheads="1" noTextEdit="1"/>
          </p:cNvSpPr>
          <p:nvPr userDrawn="1"/>
        </p:nvSpPr>
        <p:spPr bwMode="auto">
          <a:xfrm>
            <a:off x="3175" y="4421188"/>
            <a:ext cx="72009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 useBgFill="1">
        <p:nvSpPr>
          <p:cNvPr id="10" name="Rectangle 33"/>
          <p:cNvSpPr>
            <a:spLocks noChangeArrowheads="1"/>
          </p:cNvSpPr>
          <p:nvPr userDrawn="1"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11" name="Freeform 34"/>
            <p:cNvSpPr>
              <a:spLocks noEditPoints="1"/>
            </p:cNvSpPr>
            <p:nvPr userDrawn="1"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35"/>
            <p:cNvSpPr>
              <a:spLocks noEditPoints="1"/>
            </p:cNvSpPr>
            <p:nvPr userDrawn="1"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36"/>
            <p:cNvSpPr>
              <a:spLocks noEditPoints="1"/>
            </p:cNvSpPr>
            <p:nvPr userDrawn="1"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37"/>
            <p:cNvSpPr>
              <a:spLocks noEditPoints="1"/>
            </p:cNvSpPr>
            <p:nvPr userDrawn="1"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38"/>
            <p:cNvSpPr>
              <a:spLocks noEditPoints="1"/>
            </p:cNvSpPr>
            <p:nvPr userDrawn="1"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39"/>
            <p:cNvSpPr>
              <a:spLocks noEditPoints="1"/>
            </p:cNvSpPr>
            <p:nvPr userDrawn="1"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18468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221038" y="1701800"/>
            <a:ext cx="5570537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50838" y="1701800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350838" y="3249544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/>
          </p:nvPr>
        </p:nvSpPr>
        <p:spPr>
          <a:xfrm>
            <a:off x="350838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32164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9" y="1701800"/>
            <a:ext cx="5580062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6091575" y="1701800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091575" y="3249544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091575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30900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8" y="1701800"/>
            <a:ext cx="8440737" cy="29564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59113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25343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092825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97803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561832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0838" y="1701800"/>
            <a:ext cx="8440737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 b="1"/>
            </a:lvl1pPr>
          </a:lstStyle>
          <a:p>
            <a:r>
              <a:rPr lang="de-DE" dirty="0" smtClean="0"/>
              <a:t>Vielen Dank für Ihre Aufmerksamkeit.</a:t>
            </a:r>
          </a:p>
        </p:txBody>
      </p:sp>
      <p:sp>
        <p:nvSpPr>
          <p:cNvPr id="40" name="Rechteck 39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75" name="Gruppieren 74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76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07803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2251184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13" name="think-cell Folie" r:id="rId5" imgW="360" imgH="360" progId="">
              <p:embed/>
            </p:oleObj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solidFill>
            <a:srgbClr val="B7C4CB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0838" y="1701800"/>
            <a:ext cx="8440737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Vielen Dank für Ihre Aufmerksamkeit.</a:t>
            </a:r>
            <a:br>
              <a:rPr lang="de-DE" dirty="0" smtClean="0"/>
            </a:br>
            <a:endParaRPr lang="de-DE" dirty="0"/>
          </a:p>
        </p:txBody>
      </p:sp>
      <p:sp useBgFill="1">
        <p:nvSpPr>
          <p:cNvPr id="37" name="Rechteck 36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77" name="Gruppieren 76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78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268343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Inhaltsübersich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4028536"/>
            <a:ext cx="8440737" cy="220875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350838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51375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>
          <a:xfrm>
            <a:off x="930708" y="6509589"/>
            <a:ext cx="1002868" cy="153888"/>
          </a:xfrm>
          <a:prstGeom prst="rect">
            <a:avLst/>
          </a:prstGeom>
        </p:spPr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1977322" y="6509589"/>
            <a:ext cx="5892682" cy="153888"/>
          </a:xfrm>
          <a:prstGeom prst="rect">
            <a:avLst/>
          </a:prstGeom>
        </p:spPr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>
          <a:xfrm>
            <a:off x="350838" y="6509589"/>
            <a:ext cx="548754" cy="159771"/>
          </a:xfrm>
          <a:prstGeom prst="rect">
            <a:avLst/>
          </a:prstGeom>
        </p:spPr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060651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mit_Bild/Vertraulichkeitsverm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1962455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8" name="think-cell Folie" r:id="rId5" imgW="360" imgH="360" progId="">
              <p:embed/>
            </p:oleObj>
          </a:graphicData>
        </a:graphic>
      </p:graphicFrame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hteck 38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6926263" y="295276"/>
            <a:ext cx="1863725" cy="347663"/>
            <a:chOff x="6926263" y="295276"/>
            <a:chExt cx="1863725" cy="347663"/>
          </a:xfrm>
        </p:grpSpPr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solidFill>
            <a:srgbClr val="B7C4CB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0837" y="1701800"/>
            <a:ext cx="8445500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0838" y="2660623"/>
            <a:ext cx="8445500" cy="642965"/>
          </a:xfrm>
        </p:spPr>
        <p:txBody>
          <a:bodyPr lIns="0" rIns="0" anchor="t" anchorCtr="0">
            <a:normAutofit/>
          </a:bodyPr>
          <a:lstStyle>
            <a:lvl1pPr marL="1588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 useBgFill="1">
        <p:nvSpPr>
          <p:cNvPr id="33" name="Rechteck 32"/>
          <p:cNvSpPr/>
          <p:nvPr userDrawn="1"/>
        </p:nvSpPr>
        <p:spPr>
          <a:xfrm>
            <a:off x="6653212" y="209551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 useBgFill="1">
        <p:nvSpPr>
          <p:cNvPr id="82" name="Rectangle 33"/>
          <p:cNvSpPr>
            <a:spLocks noChangeArrowheads="1"/>
          </p:cNvSpPr>
          <p:nvPr userDrawn="1"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84" name="Freeform 34"/>
            <p:cNvSpPr>
              <a:spLocks noEditPoints="1"/>
            </p:cNvSpPr>
            <p:nvPr userDrawn="1"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35"/>
            <p:cNvSpPr>
              <a:spLocks noEditPoints="1"/>
            </p:cNvSpPr>
            <p:nvPr userDrawn="1"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36"/>
            <p:cNvSpPr>
              <a:spLocks noEditPoints="1"/>
            </p:cNvSpPr>
            <p:nvPr userDrawn="1"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37"/>
            <p:cNvSpPr>
              <a:spLocks noEditPoints="1"/>
            </p:cNvSpPr>
            <p:nvPr userDrawn="1"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38"/>
            <p:cNvSpPr>
              <a:spLocks noEditPoints="1"/>
            </p:cNvSpPr>
            <p:nvPr userDrawn="1"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39"/>
            <p:cNvSpPr>
              <a:spLocks noEditPoints="1"/>
            </p:cNvSpPr>
            <p:nvPr userDrawn="1"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2" name="Gruppieren 111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113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12470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0838" y="1701800"/>
            <a:ext cx="8440737" cy="92232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defRPr sz="2800" b="1" cap="none" baseline="0"/>
            </a:lvl1pPr>
          </a:lstStyle>
          <a:p>
            <a:r>
              <a:rPr lang="de-DE" dirty="0" smtClean="0"/>
              <a:t>Mastertitelformat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647951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3470336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92" name="think-cell Folie" r:id="rId5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0838" y="1701800"/>
            <a:ext cx="8440737" cy="92232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defRPr sz="2800" b="1" cap="none" baseline="0"/>
            </a:lvl1pPr>
          </a:lstStyle>
          <a:p>
            <a:r>
              <a:rPr lang="de-DE" dirty="0" smtClean="0"/>
              <a:t>Mastertitelformat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50838" y="2997288"/>
            <a:ext cx="8424000" cy="32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3364898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1701799"/>
            <a:ext cx="8440737" cy="453548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375647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5098212"/>
            <a:ext cx="8440737" cy="113907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350838" y="1701800"/>
            <a:ext cx="8424000" cy="32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735064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4028536"/>
            <a:ext cx="8440737" cy="220875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350838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51375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510026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225800" y="1701800"/>
            <a:ext cx="5565775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50837" y="1701800"/>
            <a:ext cx="2700000" cy="4535488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951580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9" y="1701800"/>
            <a:ext cx="5580062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6091575" y="1701800"/>
            <a:ext cx="2700000" cy="4535488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77348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="" xmlns:p14="http://schemas.microsoft.com/office/powerpoint/2010/main" val="182349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336" name="think-cell Folie" r:id="rId21" imgW="360" imgH="360" progId="">
              <p:embed/>
            </p:oleObj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0839" y="1701799"/>
            <a:ext cx="8440735" cy="45354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350839" y="730250"/>
            <a:ext cx="844073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-426356" y="-358752"/>
            <a:ext cx="9978571" cy="7612743"/>
            <a:chOff x="-426356" y="-358752"/>
            <a:chExt cx="9978571" cy="7612743"/>
          </a:xfrm>
        </p:grpSpPr>
        <p:cxnSp>
          <p:nvCxnSpPr>
            <p:cNvPr id="5" name="Gerade Verbindung 4"/>
            <p:cNvCxnSpPr/>
            <p:nvPr userDrawn="1"/>
          </p:nvCxnSpPr>
          <p:spPr>
            <a:xfrm flipH="1">
              <a:off x="-426356" y="20558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H="1">
              <a:off x="-426356" y="7286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H="1">
              <a:off x="-426356" y="1698625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H="1">
              <a:off x="-426356" y="6237288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H="1">
              <a:off x="-426356" y="66341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9298215" y="20558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H="1">
              <a:off x="9298215" y="7286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flipH="1">
              <a:off x="9298215" y="1698625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flipH="1">
              <a:off x="9298215" y="6237288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flipH="1">
              <a:off x="9298215" y="66341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H="1">
              <a:off x="220662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H="1">
              <a:off x="2932113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H="1">
              <a:off x="4363245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H="1">
              <a:off x="4522788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H="1">
              <a:off x="8662194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H="1">
              <a:off x="220662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H="1">
              <a:off x="8662194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rot="5400000" flipH="1">
              <a:off x="3093244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H="1">
              <a:off x="5801519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H="1">
              <a:off x="5967412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5400000" flipH="1">
              <a:off x="2932113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rot="5400000" flipH="1">
              <a:off x="4363245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rot="5400000" flipH="1">
              <a:off x="4522788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H="1">
              <a:off x="3093244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H="1">
              <a:off x="5801519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H="1">
              <a:off x="5967412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>
          <a:xfrm>
            <a:off x="8015288" y="6408738"/>
            <a:ext cx="774701" cy="265113"/>
            <a:chOff x="8015288" y="6408738"/>
            <a:chExt cx="774701" cy="265113"/>
          </a:xfrm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8435976" y="6408738"/>
              <a:ext cx="190500" cy="265113"/>
            </a:xfrm>
            <a:custGeom>
              <a:avLst/>
              <a:gdLst>
                <a:gd name="T0" fmla="*/ 618 w 836"/>
                <a:gd name="T1" fmla="*/ 0 h 1167"/>
                <a:gd name="T2" fmla="*/ 836 w 836"/>
                <a:gd name="T3" fmla="*/ 0 h 1167"/>
                <a:gd name="T4" fmla="*/ 220 w 836"/>
                <a:gd name="T5" fmla="*/ 1167 h 1167"/>
                <a:gd name="T6" fmla="*/ 0 w 836"/>
                <a:gd name="T7" fmla="*/ 1167 h 1167"/>
                <a:gd name="T8" fmla="*/ 618 w 836"/>
                <a:gd name="T9" fmla="*/ 0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6" h="1167">
                  <a:moveTo>
                    <a:pt x="618" y="0"/>
                  </a:moveTo>
                  <a:lnTo>
                    <a:pt x="836" y="0"/>
                  </a:lnTo>
                  <a:lnTo>
                    <a:pt x="220" y="1167"/>
                  </a:lnTo>
                  <a:lnTo>
                    <a:pt x="0" y="1167"/>
                  </a:lnTo>
                  <a:lnTo>
                    <a:pt x="618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8355013" y="6408738"/>
              <a:ext cx="188913" cy="265113"/>
            </a:xfrm>
            <a:custGeom>
              <a:avLst/>
              <a:gdLst>
                <a:gd name="T0" fmla="*/ 618 w 837"/>
                <a:gd name="T1" fmla="*/ 0 h 1167"/>
                <a:gd name="T2" fmla="*/ 837 w 837"/>
                <a:gd name="T3" fmla="*/ 0 h 1167"/>
                <a:gd name="T4" fmla="*/ 219 w 837"/>
                <a:gd name="T5" fmla="*/ 1167 h 1167"/>
                <a:gd name="T6" fmla="*/ 0 w 837"/>
                <a:gd name="T7" fmla="*/ 1167 h 1167"/>
                <a:gd name="T8" fmla="*/ 618 w 837"/>
                <a:gd name="T9" fmla="*/ 0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7" h="1167">
                  <a:moveTo>
                    <a:pt x="618" y="0"/>
                  </a:moveTo>
                  <a:lnTo>
                    <a:pt x="837" y="0"/>
                  </a:lnTo>
                  <a:lnTo>
                    <a:pt x="219" y="1167"/>
                  </a:lnTo>
                  <a:lnTo>
                    <a:pt x="0" y="1167"/>
                  </a:lnTo>
                  <a:lnTo>
                    <a:pt x="618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8193088" y="6450013"/>
              <a:ext cx="247650" cy="182563"/>
            </a:xfrm>
            <a:custGeom>
              <a:avLst/>
              <a:gdLst>
                <a:gd name="T0" fmla="*/ 0 w 1098"/>
                <a:gd name="T1" fmla="*/ 0 h 809"/>
                <a:gd name="T2" fmla="*/ 200 w 1098"/>
                <a:gd name="T3" fmla="*/ 0 h 809"/>
                <a:gd name="T4" fmla="*/ 200 w 1098"/>
                <a:gd name="T5" fmla="*/ 431 h 809"/>
                <a:gd name="T6" fmla="*/ 446 w 1098"/>
                <a:gd name="T7" fmla="*/ 0 h 809"/>
                <a:gd name="T8" fmla="*/ 664 w 1098"/>
                <a:gd name="T9" fmla="*/ 0 h 809"/>
                <a:gd name="T10" fmla="*/ 664 w 1098"/>
                <a:gd name="T11" fmla="*/ 439 h 809"/>
                <a:gd name="T12" fmla="*/ 905 w 1098"/>
                <a:gd name="T13" fmla="*/ 0 h 809"/>
                <a:gd name="T14" fmla="*/ 1098 w 1098"/>
                <a:gd name="T15" fmla="*/ 0 h 809"/>
                <a:gd name="T16" fmla="*/ 667 w 1098"/>
                <a:gd name="T17" fmla="*/ 809 h 809"/>
                <a:gd name="T18" fmla="*/ 460 w 1098"/>
                <a:gd name="T19" fmla="*/ 809 h 809"/>
                <a:gd name="T20" fmla="*/ 460 w 1098"/>
                <a:gd name="T21" fmla="*/ 342 h 809"/>
                <a:gd name="T22" fmla="*/ 200 w 1098"/>
                <a:gd name="T23" fmla="*/ 809 h 809"/>
                <a:gd name="T24" fmla="*/ 0 w 1098"/>
                <a:gd name="T25" fmla="*/ 809 h 809"/>
                <a:gd name="T26" fmla="*/ 0 w 1098"/>
                <a:gd name="T27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8" h="809">
                  <a:moveTo>
                    <a:pt x="0" y="0"/>
                  </a:moveTo>
                  <a:lnTo>
                    <a:pt x="200" y="0"/>
                  </a:lnTo>
                  <a:lnTo>
                    <a:pt x="200" y="431"/>
                  </a:lnTo>
                  <a:lnTo>
                    <a:pt x="446" y="0"/>
                  </a:lnTo>
                  <a:lnTo>
                    <a:pt x="664" y="0"/>
                  </a:lnTo>
                  <a:lnTo>
                    <a:pt x="664" y="439"/>
                  </a:lnTo>
                  <a:lnTo>
                    <a:pt x="905" y="0"/>
                  </a:lnTo>
                  <a:lnTo>
                    <a:pt x="1098" y="0"/>
                  </a:lnTo>
                  <a:lnTo>
                    <a:pt x="667" y="809"/>
                  </a:lnTo>
                  <a:lnTo>
                    <a:pt x="460" y="809"/>
                  </a:lnTo>
                  <a:lnTo>
                    <a:pt x="460" y="342"/>
                  </a:lnTo>
                  <a:lnTo>
                    <a:pt x="200" y="809"/>
                  </a:lnTo>
                  <a:lnTo>
                    <a:pt x="0" y="8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8540751" y="6450013"/>
              <a:ext cx="249238" cy="182563"/>
            </a:xfrm>
            <a:custGeom>
              <a:avLst/>
              <a:gdLst>
                <a:gd name="T0" fmla="*/ 428 w 1100"/>
                <a:gd name="T1" fmla="*/ 0 h 809"/>
                <a:gd name="T2" fmla="*/ 642 w 1100"/>
                <a:gd name="T3" fmla="*/ 0 h 809"/>
                <a:gd name="T4" fmla="*/ 642 w 1100"/>
                <a:gd name="T5" fmla="*/ 467 h 809"/>
                <a:gd name="T6" fmla="*/ 897 w 1100"/>
                <a:gd name="T7" fmla="*/ 0 h 809"/>
                <a:gd name="T8" fmla="*/ 1100 w 1100"/>
                <a:gd name="T9" fmla="*/ 0 h 809"/>
                <a:gd name="T10" fmla="*/ 1100 w 1100"/>
                <a:gd name="T11" fmla="*/ 809 h 809"/>
                <a:gd name="T12" fmla="*/ 897 w 1100"/>
                <a:gd name="T13" fmla="*/ 809 h 809"/>
                <a:gd name="T14" fmla="*/ 897 w 1100"/>
                <a:gd name="T15" fmla="*/ 378 h 809"/>
                <a:gd name="T16" fmla="*/ 642 w 1100"/>
                <a:gd name="T17" fmla="*/ 809 h 809"/>
                <a:gd name="T18" fmla="*/ 433 w 1100"/>
                <a:gd name="T19" fmla="*/ 809 h 809"/>
                <a:gd name="T20" fmla="*/ 433 w 1100"/>
                <a:gd name="T21" fmla="*/ 376 h 809"/>
                <a:gd name="T22" fmla="*/ 194 w 1100"/>
                <a:gd name="T23" fmla="*/ 809 h 809"/>
                <a:gd name="T24" fmla="*/ 0 w 1100"/>
                <a:gd name="T25" fmla="*/ 809 h 809"/>
                <a:gd name="T26" fmla="*/ 428 w 1100"/>
                <a:gd name="T27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0" h="809">
                  <a:moveTo>
                    <a:pt x="428" y="0"/>
                  </a:moveTo>
                  <a:lnTo>
                    <a:pt x="642" y="0"/>
                  </a:lnTo>
                  <a:lnTo>
                    <a:pt x="642" y="467"/>
                  </a:lnTo>
                  <a:lnTo>
                    <a:pt x="897" y="0"/>
                  </a:lnTo>
                  <a:lnTo>
                    <a:pt x="1100" y="0"/>
                  </a:lnTo>
                  <a:lnTo>
                    <a:pt x="1100" y="809"/>
                  </a:lnTo>
                  <a:lnTo>
                    <a:pt x="897" y="809"/>
                  </a:lnTo>
                  <a:lnTo>
                    <a:pt x="897" y="378"/>
                  </a:lnTo>
                  <a:lnTo>
                    <a:pt x="642" y="809"/>
                  </a:lnTo>
                  <a:lnTo>
                    <a:pt x="433" y="809"/>
                  </a:lnTo>
                  <a:lnTo>
                    <a:pt x="433" y="376"/>
                  </a:lnTo>
                  <a:lnTo>
                    <a:pt x="194" y="809"/>
                  </a:lnTo>
                  <a:lnTo>
                    <a:pt x="0" y="809"/>
                  </a:lnTo>
                  <a:lnTo>
                    <a:pt x="42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8015288" y="6442075"/>
              <a:ext cx="155575" cy="195263"/>
            </a:xfrm>
            <a:custGeom>
              <a:avLst/>
              <a:gdLst>
                <a:gd name="T0" fmla="*/ 432 w 688"/>
                <a:gd name="T1" fmla="*/ 8 h 862"/>
                <a:gd name="T2" fmla="*/ 542 w 688"/>
                <a:gd name="T3" fmla="*/ 51 h 862"/>
                <a:gd name="T4" fmla="*/ 623 w 688"/>
                <a:gd name="T5" fmla="*/ 122 h 862"/>
                <a:gd name="T6" fmla="*/ 665 w 688"/>
                <a:gd name="T7" fmla="*/ 214 h 862"/>
                <a:gd name="T8" fmla="*/ 459 w 688"/>
                <a:gd name="T9" fmla="*/ 271 h 862"/>
                <a:gd name="T10" fmla="*/ 447 w 688"/>
                <a:gd name="T11" fmla="*/ 218 h 862"/>
                <a:gd name="T12" fmla="*/ 396 w 688"/>
                <a:gd name="T13" fmla="*/ 181 h 862"/>
                <a:gd name="T14" fmla="*/ 333 w 688"/>
                <a:gd name="T15" fmla="*/ 173 h 862"/>
                <a:gd name="T16" fmla="*/ 271 w 688"/>
                <a:gd name="T17" fmla="*/ 186 h 862"/>
                <a:gd name="T18" fmla="*/ 237 w 688"/>
                <a:gd name="T19" fmla="*/ 217 h 862"/>
                <a:gd name="T20" fmla="*/ 238 w 688"/>
                <a:gd name="T21" fmla="*/ 256 h 862"/>
                <a:gd name="T22" fmla="*/ 284 w 688"/>
                <a:gd name="T23" fmla="*/ 295 h 862"/>
                <a:gd name="T24" fmla="*/ 332 w 688"/>
                <a:gd name="T25" fmla="*/ 313 h 862"/>
                <a:gd name="T26" fmla="*/ 388 w 688"/>
                <a:gd name="T27" fmla="*/ 329 h 862"/>
                <a:gd name="T28" fmla="*/ 444 w 688"/>
                <a:gd name="T29" fmla="*/ 346 h 862"/>
                <a:gd name="T30" fmla="*/ 498 w 688"/>
                <a:gd name="T31" fmla="*/ 365 h 862"/>
                <a:gd name="T32" fmla="*/ 544 w 688"/>
                <a:gd name="T33" fmla="*/ 384 h 862"/>
                <a:gd name="T34" fmla="*/ 566 w 688"/>
                <a:gd name="T35" fmla="*/ 394 h 862"/>
                <a:gd name="T36" fmla="*/ 643 w 688"/>
                <a:gd name="T37" fmla="*/ 453 h 862"/>
                <a:gd name="T38" fmla="*/ 685 w 688"/>
                <a:gd name="T39" fmla="*/ 537 h 862"/>
                <a:gd name="T40" fmla="*/ 684 w 688"/>
                <a:gd name="T41" fmla="*/ 646 h 862"/>
                <a:gd name="T42" fmla="*/ 643 w 688"/>
                <a:gd name="T43" fmla="*/ 744 h 862"/>
                <a:gd name="T44" fmla="*/ 562 w 688"/>
                <a:gd name="T45" fmla="*/ 814 h 862"/>
                <a:gd name="T46" fmla="*/ 443 w 688"/>
                <a:gd name="T47" fmla="*/ 854 h 862"/>
                <a:gd name="T48" fmla="*/ 293 w 688"/>
                <a:gd name="T49" fmla="*/ 859 h 862"/>
                <a:gd name="T50" fmla="*/ 165 w 688"/>
                <a:gd name="T51" fmla="*/ 831 h 862"/>
                <a:gd name="T52" fmla="*/ 73 w 688"/>
                <a:gd name="T53" fmla="*/ 772 h 862"/>
                <a:gd name="T54" fmla="*/ 19 w 688"/>
                <a:gd name="T55" fmla="*/ 683 h 862"/>
                <a:gd name="T56" fmla="*/ 0 w 688"/>
                <a:gd name="T57" fmla="*/ 566 h 862"/>
                <a:gd name="T58" fmla="*/ 219 w 688"/>
                <a:gd name="T59" fmla="*/ 620 h 862"/>
                <a:gd name="T60" fmla="*/ 268 w 688"/>
                <a:gd name="T61" fmla="*/ 681 h 862"/>
                <a:gd name="T62" fmla="*/ 344 w 688"/>
                <a:gd name="T63" fmla="*/ 703 h 862"/>
                <a:gd name="T64" fmla="*/ 420 w 688"/>
                <a:gd name="T65" fmla="*/ 689 h 862"/>
                <a:gd name="T66" fmla="*/ 469 w 688"/>
                <a:gd name="T67" fmla="*/ 651 h 862"/>
                <a:gd name="T68" fmla="*/ 479 w 688"/>
                <a:gd name="T69" fmla="*/ 604 h 862"/>
                <a:gd name="T70" fmla="*/ 460 w 688"/>
                <a:gd name="T71" fmla="*/ 567 h 862"/>
                <a:gd name="T72" fmla="*/ 403 w 688"/>
                <a:gd name="T73" fmla="*/ 539 h 862"/>
                <a:gd name="T74" fmla="*/ 383 w 688"/>
                <a:gd name="T75" fmla="*/ 532 h 862"/>
                <a:gd name="T76" fmla="*/ 342 w 688"/>
                <a:gd name="T77" fmla="*/ 519 h 862"/>
                <a:gd name="T78" fmla="*/ 285 w 688"/>
                <a:gd name="T79" fmla="*/ 503 h 862"/>
                <a:gd name="T80" fmla="*/ 220 w 688"/>
                <a:gd name="T81" fmla="*/ 484 h 862"/>
                <a:gd name="T82" fmla="*/ 171 w 688"/>
                <a:gd name="T83" fmla="*/ 464 h 862"/>
                <a:gd name="T84" fmla="*/ 89 w 688"/>
                <a:gd name="T85" fmla="*/ 409 h 862"/>
                <a:gd name="T86" fmla="*/ 34 w 688"/>
                <a:gd name="T87" fmla="*/ 318 h 862"/>
                <a:gd name="T88" fmla="*/ 28 w 688"/>
                <a:gd name="T89" fmla="*/ 213 h 862"/>
                <a:gd name="T90" fmla="*/ 67 w 688"/>
                <a:gd name="T91" fmla="*/ 121 h 862"/>
                <a:gd name="T92" fmla="*/ 149 w 688"/>
                <a:gd name="T93" fmla="*/ 50 h 862"/>
                <a:gd name="T94" fmla="*/ 261 w 688"/>
                <a:gd name="T95" fmla="*/ 8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8" h="862">
                  <a:moveTo>
                    <a:pt x="347" y="0"/>
                  </a:moveTo>
                  <a:lnTo>
                    <a:pt x="390" y="2"/>
                  </a:lnTo>
                  <a:lnTo>
                    <a:pt x="432" y="8"/>
                  </a:lnTo>
                  <a:lnTo>
                    <a:pt x="471" y="19"/>
                  </a:lnTo>
                  <a:lnTo>
                    <a:pt x="508" y="34"/>
                  </a:lnTo>
                  <a:lnTo>
                    <a:pt x="542" y="51"/>
                  </a:lnTo>
                  <a:lnTo>
                    <a:pt x="573" y="73"/>
                  </a:lnTo>
                  <a:lnTo>
                    <a:pt x="600" y="97"/>
                  </a:lnTo>
                  <a:lnTo>
                    <a:pt x="623" y="122"/>
                  </a:lnTo>
                  <a:lnTo>
                    <a:pt x="642" y="151"/>
                  </a:lnTo>
                  <a:lnTo>
                    <a:pt x="655" y="182"/>
                  </a:lnTo>
                  <a:lnTo>
                    <a:pt x="665" y="214"/>
                  </a:lnTo>
                  <a:lnTo>
                    <a:pt x="667" y="248"/>
                  </a:lnTo>
                  <a:lnTo>
                    <a:pt x="667" y="271"/>
                  </a:lnTo>
                  <a:lnTo>
                    <a:pt x="459" y="271"/>
                  </a:lnTo>
                  <a:lnTo>
                    <a:pt x="459" y="255"/>
                  </a:lnTo>
                  <a:lnTo>
                    <a:pt x="455" y="235"/>
                  </a:lnTo>
                  <a:lnTo>
                    <a:pt x="447" y="218"/>
                  </a:lnTo>
                  <a:lnTo>
                    <a:pt x="434" y="203"/>
                  </a:lnTo>
                  <a:lnTo>
                    <a:pt x="417" y="190"/>
                  </a:lnTo>
                  <a:lnTo>
                    <a:pt x="396" y="181"/>
                  </a:lnTo>
                  <a:lnTo>
                    <a:pt x="373" y="174"/>
                  </a:lnTo>
                  <a:lnTo>
                    <a:pt x="347" y="172"/>
                  </a:lnTo>
                  <a:lnTo>
                    <a:pt x="333" y="173"/>
                  </a:lnTo>
                  <a:lnTo>
                    <a:pt x="311" y="174"/>
                  </a:lnTo>
                  <a:lnTo>
                    <a:pt x="290" y="178"/>
                  </a:lnTo>
                  <a:lnTo>
                    <a:pt x="271" y="186"/>
                  </a:lnTo>
                  <a:lnTo>
                    <a:pt x="257" y="195"/>
                  </a:lnTo>
                  <a:lnTo>
                    <a:pt x="245" y="205"/>
                  </a:lnTo>
                  <a:lnTo>
                    <a:pt x="237" y="217"/>
                  </a:lnTo>
                  <a:lnTo>
                    <a:pt x="235" y="230"/>
                  </a:lnTo>
                  <a:lnTo>
                    <a:pt x="235" y="239"/>
                  </a:lnTo>
                  <a:lnTo>
                    <a:pt x="238" y="256"/>
                  </a:lnTo>
                  <a:lnTo>
                    <a:pt x="248" y="271"/>
                  </a:lnTo>
                  <a:lnTo>
                    <a:pt x="263" y="284"/>
                  </a:lnTo>
                  <a:lnTo>
                    <a:pt x="284" y="295"/>
                  </a:lnTo>
                  <a:lnTo>
                    <a:pt x="301" y="302"/>
                  </a:lnTo>
                  <a:lnTo>
                    <a:pt x="318" y="309"/>
                  </a:lnTo>
                  <a:lnTo>
                    <a:pt x="332" y="313"/>
                  </a:lnTo>
                  <a:lnTo>
                    <a:pt x="349" y="318"/>
                  </a:lnTo>
                  <a:lnTo>
                    <a:pt x="367" y="324"/>
                  </a:lnTo>
                  <a:lnTo>
                    <a:pt x="388" y="329"/>
                  </a:lnTo>
                  <a:lnTo>
                    <a:pt x="408" y="334"/>
                  </a:lnTo>
                  <a:lnTo>
                    <a:pt x="425" y="340"/>
                  </a:lnTo>
                  <a:lnTo>
                    <a:pt x="444" y="346"/>
                  </a:lnTo>
                  <a:lnTo>
                    <a:pt x="465" y="353"/>
                  </a:lnTo>
                  <a:lnTo>
                    <a:pt x="480" y="359"/>
                  </a:lnTo>
                  <a:lnTo>
                    <a:pt x="498" y="365"/>
                  </a:lnTo>
                  <a:lnTo>
                    <a:pt x="514" y="372"/>
                  </a:lnTo>
                  <a:lnTo>
                    <a:pt x="530" y="379"/>
                  </a:lnTo>
                  <a:lnTo>
                    <a:pt x="544" y="384"/>
                  </a:lnTo>
                  <a:lnTo>
                    <a:pt x="556" y="389"/>
                  </a:lnTo>
                  <a:lnTo>
                    <a:pt x="563" y="391"/>
                  </a:lnTo>
                  <a:lnTo>
                    <a:pt x="566" y="394"/>
                  </a:lnTo>
                  <a:lnTo>
                    <a:pt x="594" y="409"/>
                  </a:lnTo>
                  <a:lnTo>
                    <a:pt x="620" y="429"/>
                  </a:lnTo>
                  <a:lnTo>
                    <a:pt x="643" y="453"/>
                  </a:lnTo>
                  <a:lnTo>
                    <a:pt x="662" y="479"/>
                  </a:lnTo>
                  <a:lnTo>
                    <a:pt x="676" y="508"/>
                  </a:lnTo>
                  <a:lnTo>
                    <a:pt x="685" y="537"/>
                  </a:lnTo>
                  <a:lnTo>
                    <a:pt x="688" y="567"/>
                  </a:lnTo>
                  <a:lnTo>
                    <a:pt x="688" y="608"/>
                  </a:lnTo>
                  <a:lnTo>
                    <a:pt x="684" y="646"/>
                  </a:lnTo>
                  <a:lnTo>
                    <a:pt x="675" y="682"/>
                  </a:lnTo>
                  <a:lnTo>
                    <a:pt x="661" y="714"/>
                  </a:lnTo>
                  <a:lnTo>
                    <a:pt x="643" y="744"/>
                  </a:lnTo>
                  <a:lnTo>
                    <a:pt x="620" y="771"/>
                  </a:lnTo>
                  <a:lnTo>
                    <a:pt x="593" y="794"/>
                  </a:lnTo>
                  <a:lnTo>
                    <a:pt x="562" y="814"/>
                  </a:lnTo>
                  <a:lnTo>
                    <a:pt x="527" y="831"/>
                  </a:lnTo>
                  <a:lnTo>
                    <a:pt x="488" y="844"/>
                  </a:lnTo>
                  <a:lnTo>
                    <a:pt x="443" y="854"/>
                  </a:lnTo>
                  <a:lnTo>
                    <a:pt x="396" y="859"/>
                  </a:lnTo>
                  <a:lnTo>
                    <a:pt x="345" y="862"/>
                  </a:lnTo>
                  <a:lnTo>
                    <a:pt x="293" y="859"/>
                  </a:lnTo>
                  <a:lnTo>
                    <a:pt x="246" y="854"/>
                  </a:lnTo>
                  <a:lnTo>
                    <a:pt x="203" y="844"/>
                  </a:lnTo>
                  <a:lnTo>
                    <a:pt x="165" y="831"/>
                  </a:lnTo>
                  <a:lnTo>
                    <a:pt x="130" y="815"/>
                  </a:lnTo>
                  <a:lnTo>
                    <a:pt x="99" y="795"/>
                  </a:lnTo>
                  <a:lnTo>
                    <a:pt x="73" y="772"/>
                  </a:lnTo>
                  <a:lnTo>
                    <a:pt x="51" y="745"/>
                  </a:lnTo>
                  <a:lnTo>
                    <a:pt x="32" y="715"/>
                  </a:lnTo>
                  <a:lnTo>
                    <a:pt x="19" y="683"/>
                  </a:lnTo>
                  <a:lnTo>
                    <a:pt x="8" y="646"/>
                  </a:lnTo>
                  <a:lnTo>
                    <a:pt x="2" y="608"/>
                  </a:lnTo>
                  <a:lnTo>
                    <a:pt x="0" y="566"/>
                  </a:lnTo>
                  <a:lnTo>
                    <a:pt x="208" y="566"/>
                  </a:lnTo>
                  <a:lnTo>
                    <a:pt x="211" y="594"/>
                  </a:lnTo>
                  <a:lnTo>
                    <a:pt x="219" y="620"/>
                  </a:lnTo>
                  <a:lnTo>
                    <a:pt x="232" y="643"/>
                  </a:lnTo>
                  <a:lnTo>
                    <a:pt x="248" y="664"/>
                  </a:lnTo>
                  <a:lnTo>
                    <a:pt x="268" y="681"/>
                  </a:lnTo>
                  <a:lnTo>
                    <a:pt x="292" y="693"/>
                  </a:lnTo>
                  <a:lnTo>
                    <a:pt x="317" y="701"/>
                  </a:lnTo>
                  <a:lnTo>
                    <a:pt x="344" y="703"/>
                  </a:lnTo>
                  <a:lnTo>
                    <a:pt x="372" y="702"/>
                  </a:lnTo>
                  <a:lnTo>
                    <a:pt x="396" y="697"/>
                  </a:lnTo>
                  <a:lnTo>
                    <a:pt x="420" y="689"/>
                  </a:lnTo>
                  <a:lnTo>
                    <a:pt x="440" y="679"/>
                  </a:lnTo>
                  <a:lnTo>
                    <a:pt x="457" y="666"/>
                  </a:lnTo>
                  <a:lnTo>
                    <a:pt x="469" y="651"/>
                  </a:lnTo>
                  <a:lnTo>
                    <a:pt x="477" y="635"/>
                  </a:lnTo>
                  <a:lnTo>
                    <a:pt x="480" y="616"/>
                  </a:lnTo>
                  <a:lnTo>
                    <a:pt x="479" y="604"/>
                  </a:lnTo>
                  <a:lnTo>
                    <a:pt x="475" y="592"/>
                  </a:lnTo>
                  <a:lnTo>
                    <a:pt x="469" y="579"/>
                  </a:lnTo>
                  <a:lnTo>
                    <a:pt x="460" y="567"/>
                  </a:lnTo>
                  <a:lnTo>
                    <a:pt x="445" y="556"/>
                  </a:lnTo>
                  <a:lnTo>
                    <a:pt x="426" y="546"/>
                  </a:lnTo>
                  <a:lnTo>
                    <a:pt x="403" y="539"/>
                  </a:lnTo>
                  <a:lnTo>
                    <a:pt x="401" y="538"/>
                  </a:lnTo>
                  <a:lnTo>
                    <a:pt x="393" y="536"/>
                  </a:lnTo>
                  <a:lnTo>
                    <a:pt x="383" y="532"/>
                  </a:lnTo>
                  <a:lnTo>
                    <a:pt x="371" y="528"/>
                  </a:lnTo>
                  <a:lnTo>
                    <a:pt x="356" y="524"/>
                  </a:lnTo>
                  <a:lnTo>
                    <a:pt x="342" y="519"/>
                  </a:lnTo>
                  <a:lnTo>
                    <a:pt x="329" y="515"/>
                  </a:lnTo>
                  <a:lnTo>
                    <a:pt x="305" y="509"/>
                  </a:lnTo>
                  <a:lnTo>
                    <a:pt x="285" y="503"/>
                  </a:lnTo>
                  <a:lnTo>
                    <a:pt x="265" y="498"/>
                  </a:lnTo>
                  <a:lnTo>
                    <a:pt x="244" y="491"/>
                  </a:lnTo>
                  <a:lnTo>
                    <a:pt x="220" y="484"/>
                  </a:lnTo>
                  <a:lnTo>
                    <a:pt x="203" y="476"/>
                  </a:lnTo>
                  <a:lnTo>
                    <a:pt x="186" y="470"/>
                  </a:lnTo>
                  <a:lnTo>
                    <a:pt x="171" y="464"/>
                  </a:lnTo>
                  <a:lnTo>
                    <a:pt x="152" y="455"/>
                  </a:lnTo>
                  <a:lnTo>
                    <a:pt x="118" y="433"/>
                  </a:lnTo>
                  <a:lnTo>
                    <a:pt x="89" y="409"/>
                  </a:lnTo>
                  <a:lnTo>
                    <a:pt x="66" y="382"/>
                  </a:lnTo>
                  <a:lnTo>
                    <a:pt x="48" y="351"/>
                  </a:lnTo>
                  <a:lnTo>
                    <a:pt x="34" y="318"/>
                  </a:lnTo>
                  <a:lnTo>
                    <a:pt x="28" y="284"/>
                  </a:lnTo>
                  <a:lnTo>
                    <a:pt x="27" y="248"/>
                  </a:lnTo>
                  <a:lnTo>
                    <a:pt x="28" y="213"/>
                  </a:lnTo>
                  <a:lnTo>
                    <a:pt x="35" y="181"/>
                  </a:lnTo>
                  <a:lnTo>
                    <a:pt x="49" y="149"/>
                  </a:lnTo>
                  <a:lnTo>
                    <a:pt x="67" y="121"/>
                  </a:lnTo>
                  <a:lnTo>
                    <a:pt x="90" y="94"/>
                  </a:lnTo>
                  <a:lnTo>
                    <a:pt x="118" y="71"/>
                  </a:lnTo>
                  <a:lnTo>
                    <a:pt x="149" y="50"/>
                  </a:lnTo>
                  <a:lnTo>
                    <a:pt x="183" y="33"/>
                  </a:lnTo>
                  <a:lnTo>
                    <a:pt x="222" y="19"/>
                  </a:lnTo>
                  <a:lnTo>
                    <a:pt x="261" y="8"/>
                  </a:lnTo>
                  <a:lnTo>
                    <a:pt x="303" y="2"/>
                  </a:lnTo>
                  <a:lnTo>
                    <a:pt x="34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977322" y="6509589"/>
            <a:ext cx="59261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1000">
                <a:solidFill>
                  <a:srgbClr val="73879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930708" y="6509589"/>
            <a:ext cx="10028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000" smtClean="0">
                <a:solidFill>
                  <a:srgbClr val="73879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November 2015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350838" y="6509589"/>
            <a:ext cx="548754" cy="15977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de-DE" sz="1000" kern="1200" smtClean="0">
                <a:solidFill>
                  <a:srgbClr val="73879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D5ECB39-EFE3-45BA-A65C-33A20752AD8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9"/>
    </p:custDataLst>
    <p:extLst>
      <p:ext uri="{BB962C8B-B14F-4D97-AF65-F5344CB8AC3E}">
        <p14:creationId xmlns="" xmlns:p14="http://schemas.microsoft.com/office/powerpoint/2010/main" val="316067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4" r:id="rId2"/>
    <p:sldLayoutId id="2147483723" r:id="rId3"/>
    <p:sldLayoutId id="2147483745" r:id="rId4"/>
    <p:sldLayoutId id="2147483743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7" r:id="rId16"/>
  </p:sldLayoutIdLst>
  <p:timing>
    <p:tnLst>
      <p:par>
        <p:cTn id="1" dur="indefinite" restart="never" nodeType="tmRoot"/>
      </p:par>
    </p:tnLst>
  </p:timing>
  <p:hf hdr="0"/>
  <p:txStyles>
    <p:titleStyle>
      <a:lvl1pPr marL="0" indent="0" algn="l" defTabSz="914400" rtl="0" eaLnBrk="1" latinLnBrk="0" hangingPunct="1">
        <a:spcBef>
          <a:spcPct val="0"/>
        </a:spcBef>
        <a:buNone/>
        <a:defRPr lang="de-DE" sz="2400" kern="1200" baseline="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7800" indent="-177800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tabLst>
          <a:tab pos="361950" algn="l"/>
        </a:tabLst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4988" indent="-173038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5963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96938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5.xml"/><Relationship Id="rId7" Type="http://schemas.openxmlformats.org/officeDocument/2006/relationships/image" Target="../media/image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iki.intra.swm.de/confluence/display/entwicklerwiki/Java+AK+-+Evaluierung+von+Alternativen+zu+GWT" TargetMode="Externa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oleObject" Target="../embeddings/oleObject9.bin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6858000"/>
          </a:xfrm>
        </p:spPr>
      </p:pic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20873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37" name="think-cell Folie" r:id="rId8" imgW="360" imgH="360" progId="">
              <p:embed/>
            </p:oleObj>
          </a:graphicData>
        </a:graphic>
      </p:graphicFrame>
      <p:sp>
        <p:nvSpPr>
          <p:cNvPr id="14" name="Rechteck 1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b="1" smtClean="0"/>
              <a:t>TypeScript</a:t>
            </a:r>
            <a:endParaRPr lang="de-DE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90526" y="2584423"/>
            <a:ext cx="8445500" cy="642965"/>
          </a:xfrm>
        </p:spPr>
        <p:txBody>
          <a:bodyPr/>
          <a:lstStyle/>
          <a:p>
            <a:r>
              <a:rPr lang="de-DE" dirty="0" smtClean="0"/>
              <a:t>Januar 2016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-842839" y="3303588"/>
            <a:ext cx="748800" cy="373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WM </a:t>
            </a:r>
            <a:r>
              <a:rPr lang="de-DE" sz="800" b="1" dirty="0" smtClean="0">
                <a:latin typeface="Arial" pitchFamily="34" charset="0"/>
                <a:cs typeface="Arial" pitchFamily="34" charset="0"/>
              </a:rPr>
              <a:t>intern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-842838" y="4249844"/>
            <a:ext cx="749300" cy="373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Vertrau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-842838" y="3776716"/>
            <a:ext cx="749300" cy="373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Öffent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350838" y="3303588"/>
            <a:ext cx="749300" cy="373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WM intern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-842839" y="4722973"/>
            <a:ext cx="748800" cy="3730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treng</a:t>
            </a:r>
          </a:p>
          <a:p>
            <a:pPr algn="l">
              <a:defRPr/>
            </a:pPr>
            <a:r>
              <a:rPr lang="de-DE" sz="800" b="1" dirty="0" smtClean="0">
                <a:latin typeface="Arial" pitchFamily="34" charset="0"/>
                <a:cs typeface="Arial" pitchFamily="34" charset="0"/>
              </a:rPr>
              <a:t>vertrau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6" name="Rechteck 15"/>
          <p:cNvSpPr/>
          <p:nvPr/>
        </p:nvSpPr>
        <p:spPr>
          <a:xfrm>
            <a:off x="6653212" y="209551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 useBgFill="1">
        <p:nvSpPr>
          <p:cNvPr id="17" name="Rectangle 33"/>
          <p:cNvSpPr>
            <a:spLocks noChangeArrowheads="1"/>
          </p:cNvSpPr>
          <p:nvPr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8" name="Gruppieren 17"/>
          <p:cNvGrpSpPr/>
          <p:nvPr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19" name="Freeform 34"/>
            <p:cNvSpPr>
              <a:spLocks noEditPoints="1"/>
            </p:cNvSpPr>
            <p:nvPr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35"/>
            <p:cNvSpPr>
              <a:spLocks noEditPoints="1"/>
            </p:cNvSpPr>
            <p:nvPr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36"/>
            <p:cNvSpPr>
              <a:spLocks noEditPoints="1"/>
            </p:cNvSpPr>
            <p:nvPr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37"/>
            <p:cNvSpPr>
              <a:spLocks noEditPoints="1"/>
            </p:cNvSpPr>
            <p:nvPr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38"/>
            <p:cNvSpPr>
              <a:spLocks noEditPoints="1"/>
            </p:cNvSpPr>
            <p:nvPr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39"/>
            <p:cNvSpPr>
              <a:spLocks noEditPoints="1"/>
            </p:cNvSpPr>
            <p:nvPr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1"/>
            <p:cNvSpPr>
              <a:spLocks/>
            </p:cNvSpPr>
            <p:nvPr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13"/>
            <p:cNvSpPr>
              <a:spLocks noEditPoints="1"/>
            </p:cNvSpPr>
            <p:nvPr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14"/>
            <p:cNvSpPr>
              <a:spLocks noEditPoints="1"/>
            </p:cNvSpPr>
            <p:nvPr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17"/>
            <p:cNvSpPr>
              <a:spLocks noEditPoints="1"/>
            </p:cNvSpPr>
            <p:nvPr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20"/>
            <p:cNvSpPr>
              <a:spLocks noEditPoints="1"/>
            </p:cNvSpPr>
            <p:nvPr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22"/>
            <p:cNvSpPr>
              <a:spLocks noEditPoints="1"/>
            </p:cNvSpPr>
            <p:nvPr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5"/>
            <p:cNvSpPr>
              <a:spLocks/>
            </p:cNvSpPr>
            <p:nvPr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50361863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0838" y="206375"/>
            <a:ext cx="8440737" cy="184666"/>
          </a:xfrm>
        </p:spPr>
        <p:txBody>
          <a:bodyPr/>
          <a:lstStyle/>
          <a:p>
            <a:r>
              <a:rPr lang="de-DE" dirty="0"/>
              <a:t>Evaluierung WEB UI </a:t>
            </a:r>
            <a:r>
              <a:rPr lang="de-DE" dirty="0" smtClean="0"/>
              <a:t>Komponen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>
          <a:xfrm>
            <a:off x="359715" y="1302308"/>
            <a:ext cx="8440737" cy="4535489"/>
          </a:xfrm>
        </p:spPr>
        <p:txBody>
          <a:bodyPr/>
          <a:lstStyle/>
          <a:p>
            <a:endParaRPr lang="de-DE" dirty="0" smtClean="0"/>
          </a:p>
          <a:p>
            <a:r>
              <a:rPr lang="de-DE" dirty="0" smtClean="0"/>
              <a:t>Leichter Einstieg in die </a:t>
            </a:r>
            <a:r>
              <a:rPr lang="de-DE" dirty="0" err="1" smtClean="0"/>
              <a:t>Javascript</a:t>
            </a:r>
            <a:r>
              <a:rPr lang="de-DE" dirty="0" smtClean="0"/>
              <a:t> Welt</a:t>
            </a:r>
          </a:p>
          <a:p>
            <a:endParaRPr lang="de-DE" dirty="0"/>
          </a:p>
          <a:p>
            <a:r>
              <a:rPr lang="de-DE" dirty="0" smtClean="0"/>
              <a:t>Ausgereiftes und weitverbreitetes Framework mit vielen fertigen Modul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In sich stimmiges Gesamtkonzept inklusiver Modularisierung,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Injection</a:t>
            </a:r>
            <a:r>
              <a:rPr lang="de-DE" dirty="0" smtClean="0"/>
              <a:t> und Testbarkeit</a:t>
            </a:r>
          </a:p>
          <a:p>
            <a:endParaRPr lang="de-DE" dirty="0"/>
          </a:p>
          <a:p>
            <a:r>
              <a:rPr lang="de-DE" dirty="0" smtClean="0"/>
              <a:t>Zusammenarbeit mit Agentur ist mit Angular sehr einfach</a:t>
            </a:r>
          </a:p>
          <a:p>
            <a:endParaRPr lang="de-DE" dirty="0"/>
          </a:p>
          <a:p>
            <a:r>
              <a:rPr lang="de-DE" dirty="0" smtClean="0"/>
              <a:t>Mit umfangreichem Prototypen von Fei Xie erprobt</a:t>
            </a:r>
          </a:p>
          <a:p>
            <a:endParaRPr lang="de-DE" dirty="0"/>
          </a:p>
          <a:p>
            <a:r>
              <a:rPr lang="de-DE" dirty="0" smtClean="0"/>
              <a:t>Genaue Erklärung im </a:t>
            </a:r>
            <a:r>
              <a:rPr lang="de-DE" dirty="0" smtClean="0">
                <a:hlinkClick r:id="rId2"/>
              </a:rPr>
              <a:t>Wiki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scheidung für Angula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170344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0838" y="206375"/>
            <a:ext cx="8440737" cy="184666"/>
          </a:xfrm>
        </p:spPr>
        <p:txBody>
          <a:bodyPr/>
          <a:lstStyle/>
          <a:p>
            <a:r>
              <a:rPr lang="de-DE" dirty="0"/>
              <a:t>Evaluierung WEB UI </a:t>
            </a:r>
            <a:r>
              <a:rPr lang="de-DE" dirty="0" smtClean="0"/>
              <a:t>Komponen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de-DE" dirty="0"/>
              <a:t>Bereits prototypisch auf den I-Systemen von </a:t>
            </a:r>
            <a:r>
              <a:rPr lang="de-DE" dirty="0" err="1"/>
              <a:t>Bamboo</a:t>
            </a:r>
            <a:r>
              <a:rPr lang="de-DE" dirty="0"/>
              <a:t> und Nexus im </a:t>
            </a:r>
            <a:r>
              <a:rPr lang="de-DE" dirty="0" smtClean="0"/>
              <a:t>Einsatz</a:t>
            </a:r>
          </a:p>
          <a:p>
            <a:pPr marL="458788" lvl="2" indent="-285750">
              <a:buFont typeface="Wingdings" panose="05000000000000000000" pitchFamily="2" charset="2"/>
              <a:buChar char="§"/>
            </a:pPr>
            <a:r>
              <a:rPr lang="de-DE" dirty="0"/>
              <a:t>Herausforderungen bei </a:t>
            </a:r>
            <a:r>
              <a:rPr lang="de-DE" dirty="0" err="1" smtClean="0"/>
              <a:t>Firewallfreischaltungen</a:t>
            </a:r>
            <a:endParaRPr lang="de-DE" dirty="0"/>
          </a:p>
          <a:p>
            <a:pPr>
              <a:buFont typeface="Wingdings" panose="05000000000000000000" pitchFamily="2" charset="2"/>
              <a:buChar char="ü"/>
            </a:pPr>
            <a:endParaRPr lang="de-DE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dirty="0" err="1" smtClean="0"/>
              <a:t>IntelliJ</a:t>
            </a:r>
            <a:r>
              <a:rPr lang="de-DE" dirty="0" smtClean="0"/>
              <a:t> oder </a:t>
            </a:r>
            <a:r>
              <a:rPr lang="de-DE" dirty="0" err="1" smtClean="0"/>
              <a:t>Eclipse</a:t>
            </a:r>
            <a:r>
              <a:rPr lang="de-DE" dirty="0" smtClean="0"/>
              <a:t> oder beliebiger Texteditor</a:t>
            </a:r>
          </a:p>
          <a:p>
            <a:pPr>
              <a:buFont typeface="Wingdings" panose="05000000000000000000" pitchFamily="2" charset="2"/>
              <a:buChar char="ü"/>
            </a:pPr>
            <a:endParaRPr lang="de-DE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dirty="0" err="1" smtClean="0"/>
              <a:t>Gulp</a:t>
            </a:r>
            <a:r>
              <a:rPr lang="de-DE" dirty="0" smtClean="0"/>
              <a:t> als </a:t>
            </a:r>
            <a:r>
              <a:rPr lang="de-DE" dirty="0" err="1" smtClean="0"/>
              <a:t>Taskrunner</a:t>
            </a:r>
            <a:endParaRPr lang="de-DE" dirty="0" smtClean="0"/>
          </a:p>
          <a:p>
            <a:pPr>
              <a:buFont typeface="Wingdings" panose="05000000000000000000" pitchFamily="2" charset="2"/>
              <a:buChar char="ü"/>
            </a:pPr>
            <a:endParaRPr lang="de-DE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dirty="0" smtClean="0"/>
              <a:t>Karma &amp; Jasmin für Tests (</a:t>
            </a:r>
            <a:r>
              <a:rPr lang="de-DE" dirty="0" err="1" smtClean="0"/>
              <a:t>ngMock</a:t>
            </a:r>
            <a:r>
              <a:rPr lang="de-DE" dirty="0" smtClean="0"/>
              <a:t> für Mocks)</a:t>
            </a:r>
          </a:p>
          <a:p>
            <a:pPr>
              <a:buFont typeface="Wingdings" panose="05000000000000000000" pitchFamily="2" charset="2"/>
              <a:buChar char="ü"/>
            </a:pPr>
            <a:endParaRPr lang="de-DE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dirty="0" smtClean="0"/>
              <a:t>Sehr kurze </a:t>
            </a:r>
            <a:r>
              <a:rPr lang="de-DE" dirty="0" err="1" smtClean="0"/>
              <a:t>Buildzyklen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Toolchai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10593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SWM Unternehmenspräsentation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78850" name="Picture 2" descr="C:\Users\karsunke.franziskus\AppData\Local\Microsoft\Windows\Temporary Internet Files\Content.Outlook\FQK9G780\Variante_1_Single_Page_App_AngularJ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318" y="0"/>
            <a:ext cx="5719363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94574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0838" y="206375"/>
            <a:ext cx="8440737" cy="184666"/>
          </a:xfrm>
        </p:spPr>
        <p:txBody>
          <a:bodyPr/>
          <a:lstStyle/>
          <a:p>
            <a:r>
              <a:rPr lang="de-DE" dirty="0"/>
              <a:t>Evaluierung WEB UI </a:t>
            </a:r>
            <a:r>
              <a:rPr lang="de-DE" dirty="0" smtClean="0"/>
              <a:t>Komponent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32" y="898864"/>
            <a:ext cx="7730067" cy="5130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095529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350838" y="206375"/>
            <a:ext cx="8440737" cy="184666"/>
          </a:xfrm>
        </p:spPr>
        <p:txBody>
          <a:bodyPr/>
          <a:lstStyle/>
          <a:p>
            <a:r>
              <a:rPr lang="de-DE" dirty="0"/>
              <a:t>Evaluierung WEB UI </a:t>
            </a:r>
            <a:r>
              <a:rPr lang="de-DE" dirty="0" smtClean="0"/>
              <a:t>Komponen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 smtClean="0"/>
              <a:t>Vorschlag: 1.x</a:t>
            </a:r>
          </a:p>
          <a:p>
            <a:pPr lvl="1"/>
            <a:endParaRPr lang="de-DE" sz="1600" dirty="0" smtClean="0"/>
          </a:p>
          <a:p>
            <a:pPr lvl="1"/>
            <a:r>
              <a:rPr lang="de-DE" sz="1600" dirty="0" smtClean="0"/>
              <a:t>Angular </a:t>
            </a:r>
            <a:r>
              <a:rPr lang="de-DE" sz="1600" dirty="0"/>
              <a:t>1.x lange Zeit weiter gepflegt und entwickelt (1.5, 1.6 angekündigt</a:t>
            </a:r>
            <a:r>
              <a:rPr lang="de-DE" sz="1600" dirty="0" smtClean="0"/>
              <a:t>)</a:t>
            </a:r>
          </a:p>
          <a:p>
            <a:pPr lvl="1"/>
            <a:endParaRPr lang="de-DE" sz="1600" dirty="0"/>
          </a:p>
          <a:p>
            <a:pPr lvl="1"/>
            <a:r>
              <a:rPr lang="de-DE" sz="1600" dirty="0" err="1" smtClean="0"/>
              <a:t>Upgradepfad</a:t>
            </a:r>
            <a:r>
              <a:rPr lang="de-DE" sz="1600" dirty="0" smtClean="0"/>
              <a:t> </a:t>
            </a:r>
            <a:r>
              <a:rPr lang="de-DE" sz="1600" dirty="0"/>
              <a:t>gegeben (</a:t>
            </a:r>
            <a:r>
              <a:rPr lang="de-DE" sz="1600" dirty="0" err="1"/>
              <a:t>NgUpgrade</a:t>
            </a:r>
            <a:r>
              <a:rPr lang="de-DE" sz="1600" dirty="0"/>
              <a:t>, </a:t>
            </a:r>
            <a:r>
              <a:rPr lang="de-DE" sz="1600" dirty="0" err="1"/>
              <a:t>NgForward</a:t>
            </a:r>
            <a:r>
              <a:rPr lang="de-DE" sz="1600" dirty="0"/>
              <a:t>, </a:t>
            </a:r>
            <a:r>
              <a:rPr lang="de-DE" sz="1600" dirty="0" err="1"/>
              <a:t>Component</a:t>
            </a:r>
            <a:r>
              <a:rPr lang="de-DE" sz="1600" dirty="0"/>
              <a:t> </a:t>
            </a:r>
            <a:r>
              <a:rPr lang="de-DE" sz="1600" dirty="0" smtClean="0"/>
              <a:t>Router)</a:t>
            </a:r>
            <a:endParaRPr lang="de-DE" sz="1600" dirty="0"/>
          </a:p>
          <a:p>
            <a:pPr lvl="1"/>
            <a:endParaRPr lang="de-DE" sz="1600" dirty="0" smtClean="0"/>
          </a:p>
          <a:p>
            <a:pPr lvl="1"/>
            <a:r>
              <a:rPr lang="de-DE" sz="1600" dirty="0" smtClean="0"/>
              <a:t>Angular 2 noch nicht </a:t>
            </a:r>
            <a:r>
              <a:rPr lang="de-DE" sz="1600" dirty="0" err="1" smtClean="0"/>
              <a:t>released</a:t>
            </a:r>
            <a:r>
              <a:rPr lang="de-DE" sz="1600" dirty="0" smtClean="0"/>
              <a:t>, noch keine </a:t>
            </a:r>
            <a:r>
              <a:rPr lang="de-DE" sz="1600" dirty="0" err="1" smtClean="0"/>
              <a:t>third</a:t>
            </a:r>
            <a:r>
              <a:rPr lang="de-DE" sz="1600" dirty="0" smtClean="0"/>
              <a:t>-party-</a:t>
            </a:r>
            <a:r>
              <a:rPr lang="de-DE" sz="1600" dirty="0" err="1" smtClean="0"/>
              <a:t>libraries</a:t>
            </a:r>
            <a:endParaRPr lang="de-DE" sz="1600" dirty="0"/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ue Projekte Angular 1.x oder 2?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7867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>
          <a:xfrm>
            <a:off x="350837" y="1420427"/>
            <a:ext cx="8440737" cy="4816861"/>
          </a:xfrm>
        </p:spPr>
        <p:txBody>
          <a:bodyPr/>
          <a:lstStyle/>
          <a:p>
            <a:r>
              <a:rPr lang="de-DE" dirty="0" smtClean="0"/>
              <a:t>AngularJS als Alternative in der Technologiestrategie freigeben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okumentation der Erfahrungen im Wiki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/>
              <a:t>Integration der </a:t>
            </a:r>
            <a:r>
              <a:rPr lang="de-DE" dirty="0" err="1" smtClean="0"/>
              <a:t>Build</a:t>
            </a:r>
            <a:r>
              <a:rPr lang="de-DE" dirty="0" smtClean="0"/>
              <a:t>-Tools in produktiven </a:t>
            </a:r>
            <a:r>
              <a:rPr lang="de-DE" dirty="0" err="1" smtClean="0"/>
              <a:t>Bamboo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/>
              <a:t>Ausführliche Vorstellung von </a:t>
            </a:r>
            <a:r>
              <a:rPr lang="de-DE" dirty="0" err="1" smtClean="0"/>
              <a:t>AngularJS</a:t>
            </a:r>
            <a:r>
              <a:rPr lang="de-DE" dirty="0" smtClean="0"/>
              <a:t> im nächsten Java-AK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Typescript</a:t>
            </a:r>
            <a:r>
              <a:rPr lang="de-DE" dirty="0" smtClean="0"/>
              <a:t> möglich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mpfeh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31063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9"/>
          <p:cNvSpPr>
            <a:spLocks noChangeArrowheads="1"/>
          </p:cNvSpPr>
          <p:nvPr/>
        </p:nvSpPr>
        <p:spPr bwMode="gray">
          <a:xfrm>
            <a:off x="352426" y="3531414"/>
            <a:ext cx="84391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endParaRPr lang="de-DE" sz="2800" dirty="0">
              <a:solidFill>
                <a:srgbClr val="002C78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right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gularJS</a:t>
            </a:r>
            <a:r>
              <a:rPr lang="de-DE" sz="2800" b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800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Bildplatzhalter 13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151" b="21151"/>
          <a:stretch>
            <a:fillRect/>
          </a:stretch>
        </p:blipFill>
        <p:spPr/>
      </p:pic>
      <p:pic>
        <p:nvPicPr>
          <p:cNvPr id="8" name="Picture 63" descr="http://www.w3schools.com/angular/pic_angular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961" y="896097"/>
            <a:ext cx="1274443" cy="127444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180861628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2258682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603" name="think-cell Folie" r:id="rId6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1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7_84 83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93916" y="1336599"/>
            <a:ext cx="6039790" cy="16065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Was ist TypeScript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Typen Hierarchie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Objekte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Funktionen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Vor- und Nachteile im Vergleich mit JavaScript</a:t>
            </a:r>
          </a:p>
        </p:txBody>
      </p:sp>
      <p:sp>
        <p:nvSpPr>
          <p:cNvPr id="35" name="Foliennummernplatzhalter 3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2</a:t>
            </a:fld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284643783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2258682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1922" name="think-cell Folie" r:id="rId6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Was ist TypeScript</a:t>
            </a:r>
            <a:endParaRPr lang="de-DE" dirty="0"/>
          </a:p>
        </p:txBody>
      </p:sp>
      <p:sp>
        <p:nvSpPr>
          <p:cNvPr id="11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7_84 83_84</a:t>
            </a: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93916" y="1336599"/>
            <a:ext cx="8950084" cy="3268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Veröffentlich durch Microsoft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Ein Superset von JavaScript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Mehrere Funktionen aus ES6/ES7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Interface, Klassen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Arrow Function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Decorators</a:t>
            </a:r>
          </a:p>
          <a:p>
            <a:pPr marL="200025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Optional statische Typisierung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Erhöht die Flexibilität beim Refactoring. 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Fehler beim Kompilierung entdecken statt in der Laufzeit</a:t>
            </a:r>
          </a:p>
          <a:p>
            <a:pPr marL="657225" lvl="1" indent="-200025">
              <a:spcBef>
                <a:spcPct val="20000"/>
              </a:spcBef>
              <a:buClr>
                <a:schemeClr val="accent1"/>
              </a:buClr>
              <a:buSzPct val="100000"/>
              <a:buBlip>
                <a:blip r:embed="rId7"/>
              </a:buBlip>
              <a:defRPr/>
            </a:pPr>
            <a:r>
              <a:rPr lang="de-DE" dirty="0" smtClean="0"/>
              <a:t>Bessere Autovervollständigung in IDEs</a:t>
            </a:r>
          </a:p>
        </p:txBody>
      </p:sp>
      <p:sp>
        <p:nvSpPr>
          <p:cNvPr id="35" name="Foliennummernplatzhalter 3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3</a:t>
            </a:fld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284643783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401692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7919" name="think-cell Folie" r:id="rId7" imgW="360" imgH="360" progId="">
              <p:embed/>
            </p:oleObj>
          </a:graphicData>
        </a:graphic>
      </p:graphicFrame>
      <p:sp>
        <p:nvSpPr>
          <p:cNvPr id="8" name="Rechteck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/>
              <a:sym typeface="Arial Narrow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Type Hierarchi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350838" y="6509589"/>
            <a:ext cx="548754" cy="159771"/>
          </a:xfrm>
        </p:spPr>
        <p:txBody>
          <a:bodyPr/>
          <a:lstStyle/>
          <a:p>
            <a:fld id="{5D5ECB39-EFE3-45BA-A65C-33A20752AD8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endParaRPr lang="de-DE" sz="100" dirty="0" err="1" smtClean="0">
              <a:solidFill>
                <a:srgbClr val="FFFFFF"/>
              </a:solidFill>
            </a:endParaRPr>
          </a:p>
        </p:txBody>
      </p:sp>
      <p:sp>
        <p:nvSpPr>
          <p:cNvPr id="4" name="AutoShape 87" descr="Bildergebnis für jquery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AutoShape 89" descr="Bildergebnis für jquery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AutoShape 91" descr="Bildergebnis für jquery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7920" name="Picture 9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32567" y="1429738"/>
            <a:ext cx="8624267" cy="4597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2"/>
    </p:custDataLst>
    <p:extLst>
      <p:ext uri="{BB962C8B-B14F-4D97-AF65-F5344CB8AC3E}">
        <p14:creationId xmlns="" xmlns:p14="http://schemas.microsoft.com/office/powerpoint/2010/main" val="139192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riablen Definieren und Zuweis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TextBox 7"/>
          <p:cNvSpPr txBox="1"/>
          <p:nvPr/>
        </p:nvSpPr>
        <p:spPr>
          <a:xfrm>
            <a:off x="177419" y="1214652"/>
            <a:ext cx="8843749" cy="49859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chemeClr val="accent1"/>
                </a:solidFill>
              </a:rPr>
              <a:t>var</a:t>
            </a:r>
            <a:r>
              <a:rPr lang="de-DE" sz="2400" b="1" dirty="0" smtClean="0"/>
              <a:t> &lt;Name&gt; [: </a:t>
            </a:r>
            <a:r>
              <a:rPr lang="de-DE" sz="2400" b="1" dirty="0" smtClean="0">
                <a:solidFill>
                  <a:schemeClr val="accent2"/>
                </a:solidFill>
              </a:rPr>
              <a:t>&lt;Type&gt;</a:t>
            </a:r>
            <a:r>
              <a:rPr lang="de-DE" sz="2400" b="1" dirty="0" smtClean="0"/>
              <a:t>] [= &lt;Wert&gt;];</a:t>
            </a:r>
          </a:p>
          <a:p>
            <a:endParaRPr lang="de-DE" sz="2000" b="1" dirty="0" smtClean="0"/>
          </a:p>
          <a:p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 num : </a:t>
            </a:r>
            <a:r>
              <a:rPr lang="de-DE" sz="2000" b="1" dirty="0" smtClean="0">
                <a:solidFill>
                  <a:schemeClr val="accent2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 = 20;</a:t>
            </a:r>
          </a:p>
          <a:p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var num = 20; 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implizit Type: number</a:t>
            </a:r>
          </a:p>
          <a:p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var num; 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implizit Type: any; Wert: undefined</a:t>
            </a:r>
          </a:p>
          <a:p>
            <a:endParaRPr lang="de-DE" sz="2000" b="1" dirty="0" smtClean="0">
              <a:solidFill>
                <a:schemeClr val="bg1">
                  <a:lumMod val="50000"/>
                </a:schemeClr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 err="1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v : </a:t>
            </a:r>
            <a:r>
              <a:rPr lang="en-US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  <a:br>
              <a:rPr lang="en-US" sz="2000" b="1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undefined; 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OK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2000" b="1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null;  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OK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2000" b="1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20;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Error: Type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'number' is not assignable to </a:t>
            </a:r>
            <a:r>
              <a:rPr lang="en-US" b="1" dirty="0" err="1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type‘void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'</a:t>
            </a:r>
          </a:p>
          <a:p>
            <a:endParaRPr lang="en-US" sz="2000" b="1" dirty="0" smtClean="0">
              <a:solidFill>
                <a:schemeClr val="bg1">
                  <a:lumMod val="50000"/>
                </a:schemeClr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aPerson : {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name : </a:t>
            </a:r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, vorname : </a:t>
            </a:r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};</a:t>
            </a:r>
          </a:p>
          <a:p>
            <a:endParaRPr lang="de-DE" sz="2000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vari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: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 | number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= 20;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Union 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Type</a:t>
            </a:r>
          </a:p>
          <a:p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</a:t>
            </a:r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ar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t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: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[number, string] </a:t>
            </a:r>
            <a:r>
              <a:rPr lang="de-DE" sz="2000" b="1" dirty="0" smtClean="0">
                <a:latin typeface="Courier New" pitchFamily="49" charset="0"/>
                <a:cs typeface="Courier New" pitchFamily="49" charset="0"/>
              </a:rPr>
              <a:t>= [3, „tree“]; </a:t>
            </a: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Courier New" pitchFamily="49" charset="0"/>
                <a:cs typeface="Courier New" pitchFamily="49" charset="0"/>
              </a:rPr>
              <a:t>// Tuple Type</a:t>
            </a:r>
            <a:endParaRPr lang="de-DE" sz="2000" b="1" dirty="0" smtClean="0">
              <a:solidFill>
                <a:schemeClr val="bg1">
                  <a:lumMod val="50000"/>
                </a:schemeClr>
              </a:solidFill>
              <a:latin typeface="Courier New" pitchFamily="49" charset="0"/>
              <a:cs typeface="Courier New" pitchFamily="49" charset="0"/>
            </a:endParaRPr>
          </a:p>
          <a:p>
            <a:endParaRPr lang="en-US" sz="2000" b="1" dirty="0" smtClean="0">
              <a:solidFill>
                <a:schemeClr val="bg1">
                  <a:lumMod val="50000"/>
                </a:schemeClr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827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>
                <a:latin typeface="Courier New" pitchFamily="49" charset="0"/>
                <a:cs typeface="Courier New" pitchFamily="49" charset="0"/>
              </a:rPr>
              <a:t>I</a:t>
            </a:r>
            <a:r>
              <a:rPr b="1" smtClean="0">
                <a:latin typeface="Courier New" pitchFamily="49" charset="0"/>
                <a:cs typeface="Courier New" pitchFamily="49" charset="0"/>
              </a:rPr>
              <a:t>nterfaces/classes</a:t>
            </a:r>
            <a:endParaRPr lang="de-DE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1"/>
          </p:nvPr>
        </p:nvSpPr>
        <p:spPr>
          <a:xfrm>
            <a:off x="359715" y="1302308"/>
            <a:ext cx="8440737" cy="4535489"/>
          </a:xfrm>
        </p:spPr>
        <p:txBody>
          <a:bodyPr/>
          <a:lstStyle/>
          <a:p>
            <a:endParaRPr lang="de-DE" dirty="0" smtClean="0"/>
          </a:p>
          <a:p>
            <a:r>
              <a:rPr lang="de-DE" dirty="0" smtClean="0">
                <a:cs typeface="Courier New" pitchFamily="49" charset="0"/>
              </a:rPr>
              <a:t>Eine </a:t>
            </a:r>
            <a:r>
              <a:rPr lang="de-DE" dirty="0" smtClean="0">
                <a:cs typeface="Courier New" pitchFamily="49" charset="0"/>
              </a:rPr>
              <a:t>Klasse hat zwei Typen: statische Seite und Instanz Seite</a:t>
            </a:r>
            <a:r>
              <a:rPr lang="de-DE" dirty="0" smtClean="0">
                <a:cs typeface="Courier New" pitchFamily="49" charset="0"/>
              </a:rPr>
              <a:t>.</a:t>
            </a:r>
          </a:p>
          <a:p>
            <a:pPr lvl="1"/>
            <a:r>
              <a:rPr lang="de-DE" dirty="0" smtClean="0">
                <a:cs typeface="Courier New" pitchFamily="49" charset="0"/>
              </a:rPr>
              <a:t>Instanz Seite: Instanz Members und Funktionen</a:t>
            </a:r>
          </a:p>
          <a:p>
            <a:pPr lvl="1"/>
            <a:r>
              <a:rPr lang="de-DE" dirty="0" smtClean="0">
                <a:cs typeface="Courier New" pitchFamily="49" charset="0"/>
              </a:rPr>
              <a:t>Statische Seite: Statische Members und Funktionen, Konstrukoren </a:t>
            </a:r>
          </a:p>
          <a:p>
            <a:r>
              <a:rPr lang="de-DE" dirty="0" smtClean="0">
                <a:cs typeface="Courier New" pitchFamily="49" charset="0"/>
              </a:rPr>
              <a:t>Vererbung nur auf der Instanz Seite. (Java auf beide Seite)</a:t>
            </a:r>
          </a:p>
          <a:p>
            <a:r>
              <a:rPr lang="de-DE" dirty="0" smtClean="0">
                <a:cs typeface="Courier New" pitchFamily="49" charset="0"/>
              </a:rPr>
              <a:t>Generische Klassen: Type Parameter nur auf der Instanz Seite. (Identisch Java)</a:t>
            </a:r>
          </a:p>
          <a:p>
            <a:r>
              <a:rPr lang="de-DE" b="1" dirty="0" smtClean="0">
                <a:solidFill>
                  <a:schemeClr val="accent1"/>
                </a:solidFill>
                <a:cs typeface="Courier New" pitchFamily="49" charset="0"/>
              </a:rPr>
              <a:t>t</a:t>
            </a:r>
            <a:r>
              <a:rPr lang="de-DE" b="1" dirty="0" smtClean="0">
                <a:solidFill>
                  <a:schemeClr val="accent1"/>
                </a:solidFill>
                <a:cs typeface="Courier New" pitchFamily="49" charset="0"/>
              </a:rPr>
              <a:t>his</a:t>
            </a:r>
            <a:r>
              <a:rPr lang="de-DE" dirty="0" smtClean="0">
                <a:cs typeface="Courier New" pitchFamily="49" charset="0"/>
              </a:rPr>
              <a:t> auf Instanz Seite: Das Objekt der Klasse</a:t>
            </a:r>
          </a:p>
          <a:p>
            <a:r>
              <a:rPr lang="de-DE" b="1" dirty="0" smtClean="0">
                <a:solidFill>
                  <a:schemeClr val="accent1"/>
                </a:solidFill>
                <a:cs typeface="Courier New" pitchFamily="49" charset="0"/>
              </a:rPr>
              <a:t>t</a:t>
            </a:r>
            <a:r>
              <a:rPr lang="de-DE" b="1" dirty="0" smtClean="0">
                <a:solidFill>
                  <a:schemeClr val="accent1"/>
                </a:solidFill>
                <a:cs typeface="Courier New" pitchFamily="49" charset="0"/>
              </a:rPr>
              <a:t>his</a:t>
            </a:r>
            <a:r>
              <a:rPr lang="de-DE" dirty="0" smtClean="0">
                <a:cs typeface="Courier New" pitchFamily="49" charset="0"/>
              </a:rPr>
              <a:t> auf Statische Seite: Die Konstruktor Funktion</a:t>
            </a:r>
          </a:p>
          <a:p>
            <a:endParaRPr lang="de-DE" dirty="0" smtClean="0"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827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smtClean="0">
                <a:latin typeface="Courier New" pitchFamily="49" charset="0"/>
                <a:cs typeface="Courier New" pitchFamily="49" charset="0"/>
              </a:rPr>
              <a:t>Function Type</a:t>
            </a:r>
            <a:endParaRPr lang="de-DE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1"/>
          </p:nvPr>
        </p:nvSpPr>
        <p:spPr>
          <a:xfrm>
            <a:off x="359715" y="1302308"/>
            <a:ext cx="8440737" cy="4535489"/>
          </a:xfrm>
        </p:spPr>
        <p:txBody>
          <a:bodyPr/>
          <a:lstStyle/>
          <a:p>
            <a:endParaRPr lang="de-DE" dirty="0" smtClean="0"/>
          </a:p>
          <a:p>
            <a:r>
              <a:rPr lang="de-DE" dirty="0" smtClean="0">
                <a:cs typeface="Courier New" pitchFamily="49" charset="0"/>
              </a:rPr>
              <a:t>Function Declaration und Expression </a:t>
            </a:r>
          </a:p>
          <a:p>
            <a:pPr>
              <a:buNone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add(x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, y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)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{return x + y};</a:t>
            </a:r>
          </a:p>
          <a:p>
            <a:pPr>
              <a:buNone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add =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x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, y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)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{return x + y};</a:t>
            </a:r>
            <a:endParaRPr lang="de-DE" sz="1400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va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add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(x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  <a:sym typeface="Wingdings" pitchFamily="2" charset="2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, y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  <a:sym typeface="Wingdings" pitchFamily="2" charset="2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) =&gt;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  <a:sym typeface="Wingdings" pitchFamily="2" charset="2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= </a:t>
            </a:r>
            <a:endParaRPr lang="de-DE" sz="1400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spcBef>
                <a:spcPts val="0"/>
              </a:spcBef>
              <a:buNone/>
            </a:pP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           function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(x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, y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b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) 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numer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{return x + y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};</a:t>
            </a:r>
          </a:p>
          <a:p>
            <a:pPr>
              <a:spcBef>
                <a:spcPts val="0"/>
              </a:spcBef>
              <a:buNone/>
            </a:pPr>
            <a:endParaRPr lang="de-DE" dirty="0" smtClean="0">
              <a:cs typeface="Courier New" pitchFamily="49" charset="0"/>
            </a:endParaRPr>
          </a:p>
          <a:p>
            <a:r>
              <a:rPr lang="de-DE" dirty="0" smtClean="0">
                <a:cs typeface="Courier New" pitchFamily="49" charset="0"/>
              </a:rPr>
              <a:t>Optional und Default Parameters</a:t>
            </a:r>
          </a:p>
          <a:p>
            <a:pPr>
              <a:buNone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build(first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, last?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: </a:t>
            </a:r>
            <a:r>
              <a:rPr lang="de-DE" sz="1400" b="1" dirty="0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b="1" smtClean="0">
                <a:latin typeface="Courier New" pitchFamily="49" charset="0"/>
                <a:cs typeface="Courier New" pitchFamily="49" charset="0"/>
              </a:rPr>
              <a:t>: </a:t>
            </a:r>
            <a:r>
              <a:rPr lang="de-DE" sz="1400" b="1" smtClean="0">
                <a:solidFill>
                  <a:schemeClr val="accent1"/>
                </a:solidFill>
                <a:latin typeface="Courier New" pitchFamily="49" charset="0"/>
                <a:cs typeface="Courier New" pitchFamily="49" charset="0"/>
              </a:rPr>
              <a:t>string</a:t>
            </a:r>
            <a:r>
              <a:rPr lang="de-DE" sz="1400" b="1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{</a:t>
            </a:r>
            <a:r>
              <a:rPr lang="de-DE" sz="1400" b="1" smtClean="0">
                <a:latin typeface="Courier New" pitchFamily="49" charset="0"/>
                <a:cs typeface="Courier New" pitchFamily="49" charset="0"/>
              </a:rPr>
              <a:t>return </a:t>
            </a:r>
            <a:r>
              <a:rPr lang="de-DE" sz="1400" b="1" smtClean="0">
                <a:latin typeface="Courier New" pitchFamily="49" charset="0"/>
                <a:cs typeface="Courier New" pitchFamily="49" charset="0"/>
              </a:rPr>
              <a:t>...}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dirty="0" smtClean="0">
                <a:cs typeface="Courier New" pitchFamily="49" charset="0"/>
              </a:rPr>
              <a:t>Sdf</a:t>
            </a:r>
          </a:p>
          <a:p>
            <a:r>
              <a:rPr lang="de-DE" dirty="0" smtClean="0">
                <a:cs typeface="Courier New" pitchFamily="49" charset="0"/>
              </a:rPr>
              <a:t>Sdf</a:t>
            </a:r>
          </a:p>
          <a:p>
            <a:endParaRPr lang="de-DE" dirty="0" smtClean="0">
              <a:cs typeface="Courier New" pitchFamily="49" charset="0"/>
            </a:endParaRPr>
          </a:p>
        </p:txBody>
      </p:sp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532" y="5452210"/>
            <a:ext cx="6295655" cy="1221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40827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1362564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847" name="think-cell Folie" r:id="rId6" imgW="360" imgH="360" progId="">
              <p:embed/>
            </p:oleObj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0839" y="730250"/>
            <a:ext cx="8440736" cy="369332"/>
          </a:xfrm>
        </p:spPr>
        <p:txBody>
          <a:bodyPr/>
          <a:lstStyle/>
          <a:p>
            <a:r>
              <a:rPr lang="de-DE" dirty="0" err="1" smtClean="0"/>
              <a:t>AngularJS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9" name="TextBox 18"/>
          <p:cNvSpPr txBox="1"/>
          <p:nvPr/>
        </p:nvSpPr>
        <p:spPr>
          <a:xfrm>
            <a:off x="1419366" y="1678675"/>
            <a:ext cx="6114197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/>
              <a:t>Arror function</a:t>
            </a:r>
          </a:p>
          <a:p>
            <a:r>
              <a:rPr lang="de-DE" dirty="0" smtClean="0"/>
              <a:t>Vererbung</a:t>
            </a:r>
          </a:p>
          <a:p>
            <a:r>
              <a:rPr lang="de-DE" dirty="0" smtClean="0"/>
              <a:t>Function type</a:t>
            </a:r>
          </a:p>
          <a:p>
            <a:r>
              <a:rPr lang="de-DE" dirty="0" smtClean="0"/>
              <a:t>Optional parameter</a:t>
            </a:r>
          </a:p>
          <a:p>
            <a:r>
              <a:rPr lang="de-DE" dirty="0" smtClean="0"/>
              <a:t>Methode Überladen </a:t>
            </a:r>
          </a:p>
          <a:p>
            <a:r>
              <a:rPr lang="de-DE" dirty="0" smtClean="0"/>
              <a:t>Objekte Type {}</a:t>
            </a:r>
          </a:p>
          <a:p>
            <a:r>
              <a:rPr lang="de-DE" dirty="0" smtClean="0"/>
              <a:t>Private, Protected, Public (Vererbung -&gt; Private)</a:t>
            </a:r>
          </a:p>
          <a:p>
            <a:r>
              <a:rPr lang="de-DE" dirty="0" smtClean="0"/>
              <a:t>Constructor</a:t>
            </a:r>
          </a:p>
          <a:p>
            <a:r>
              <a:rPr lang="de-DE" dirty="0" smtClean="0"/>
              <a:t>Static / Instance Side of a class</a:t>
            </a:r>
          </a:p>
          <a:p>
            <a:r>
              <a:rPr lang="de-DE" dirty="0" smtClean="0"/>
              <a:t>Module</a:t>
            </a:r>
          </a:p>
          <a:p>
            <a:endParaRPr lang="de-DE" dirty="0" smtClean="0"/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4310894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8" name="Picture 2" descr="http://entwicklertagebuch.com/blog/wp-content/uploads/2013/10/modul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50" y="0"/>
            <a:ext cx="8876201" cy="62771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76656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′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ARTICULATE_PROJECT_OPEN" val="0"/>
  <p:tag name="THINKCELLUNDODONOTDELETE" val="0"/>
  <p:tag name="ARTICULATE_SLIDE_COUNT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NctwIIsUeShgPL4uGl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jLELdqUaZLlbxuT69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WM_Folienmaster">
  <a:themeElements>
    <a:clrScheme name="SWM_colors">
      <a:dk1>
        <a:sysClr val="windowText" lastClr="000000"/>
      </a:dk1>
      <a:lt1>
        <a:sysClr val="window" lastClr="FFFFFF"/>
      </a:lt1>
      <a:dk2>
        <a:srgbClr val="1C5394"/>
      </a:dk2>
      <a:lt2>
        <a:srgbClr val="E0E5E8"/>
      </a:lt2>
      <a:accent1>
        <a:srgbClr val="1C5394"/>
      </a:accent1>
      <a:accent2>
        <a:srgbClr val="75AD40"/>
      </a:accent2>
      <a:accent3>
        <a:srgbClr val="009EE0"/>
      </a:accent3>
      <a:accent4>
        <a:srgbClr val="981A32"/>
      </a:accent4>
      <a:accent5>
        <a:srgbClr val="FABA00"/>
      </a:accent5>
      <a:accent6>
        <a:srgbClr val="EB6909"/>
      </a:accent6>
      <a:hlink>
        <a:srgbClr val="005096"/>
      </a:hlink>
      <a:folHlink>
        <a:srgbClr val="55AA28"/>
      </a:folHlink>
    </a:clrScheme>
    <a:fontScheme name="SWM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WM_Folienmaster</Template>
  <TotalTime>0</TotalTime>
  <Words>564</Words>
  <Application>Microsoft Office PowerPoint</Application>
  <PresentationFormat>On-screen Show (4:3)</PresentationFormat>
  <Paragraphs>154</Paragraphs>
  <Slides>16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SWM_Folienmaster</vt:lpstr>
      <vt:lpstr>think-cell Folie</vt:lpstr>
      <vt:lpstr>TypeScript</vt:lpstr>
      <vt:lpstr>Agenda</vt:lpstr>
      <vt:lpstr>Was ist TypeScript</vt:lpstr>
      <vt:lpstr>Type Hierarchie</vt:lpstr>
      <vt:lpstr>Variablen Definieren und Zuweisen</vt:lpstr>
      <vt:lpstr>Interfaces/classes</vt:lpstr>
      <vt:lpstr>Function Type</vt:lpstr>
      <vt:lpstr>AngularJS</vt:lpstr>
      <vt:lpstr>Slide 9</vt:lpstr>
      <vt:lpstr>Entscheidung für Angular</vt:lpstr>
      <vt:lpstr>Build Toolchain</vt:lpstr>
      <vt:lpstr>Slide 12</vt:lpstr>
      <vt:lpstr>Slide 13</vt:lpstr>
      <vt:lpstr>Neue Projekte Angular 1.x oder 2?</vt:lpstr>
      <vt:lpstr>Empfehlung</vt:lpstr>
      <vt:lpstr>Come to the bright side  - use AngularJS </vt:lpstr>
    </vt:vector>
  </TitlesOfParts>
  <Company>Stadtwerke München GmbH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seite ohne Bild Hervorhebung Aussage</dc:title>
  <dc:creator>Leutenmayr.Jeannette G-KM</dc:creator>
  <cp:lastModifiedBy>xie</cp:lastModifiedBy>
  <cp:revision>243</cp:revision>
  <cp:lastPrinted>2015-09-14T15:18:40Z</cp:lastPrinted>
  <dcterms:created xsi:type="dcterms:W3CDTF">2014-09-10T15:20:38Z</dcterms:created>
  <dcterms:modified xsi:type="dcterms:W3CDTF">2016-01-03T23:0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0C295FE-EF88-4CF6-9DC1-7AFFED472C54</vt:lpwstr>
  </property>
  <property fmtid="{D5CDD505-2E9C-101B-9397-08002B2CF9AE}" pid="3" name="ArticulatePath">
    <vt:lpwstr>140404_SWM_PPT-Master_mit Inhalt_1</vt:lpwstr>
  </property>
</Properties>
</file>